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4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7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2080" r:id="rId11"/>
    <p:sldId id="1945" r:id="rId12"/>
    <p:sldId id="1962" r:id="rId13"/>
    <p:sldId id="1994" r:id="rId14"/>
    <p:sldId id="1996" r:id="rId15"/>
    <p:sldId id="2030" r:id="rId16"/>
    <p:sldId id="2082" r:id="rId17"/>
    <p:sldId id="2047" r:id="rId18"/>
    <p:sldId id="2084" r:id="rId19"/>
    <p:sldId id="2085" r:id="rId20"/>
    <p:sldId id="2086" r:id="rId21"/>
    <p:sldId id="2087" r:id="rId22"/>
    <p:sldId id="2088" r:id="rId23"/>
    <p:sldId id="2089" r:id="rId24"/>
    <p:sldId id="2090" r:id="rId25"/>
    <p:sldId id="2091" r:id="rId26"/>
    <p:sldId id="2092" r:id="rId27"/>
    <p:sldId id="2093" r:id="rId28"/>
    <p:sldId id="2094" r:id="rId29"/>
    <p:sldId id="2095" r:id="rId30"/>
    <p:sldId id="2096" r:id="rId31"/>
    <p:sldId id="2097" r:id="rId32"/>
    <p:sldId id="2098" r:id="rId33"/>
    <p:sldId id="1942" r:id="rId34"/>
    <p:sldId id="1474" r:id="rId35"/>
    <p:sldId id="1481" r:id="rId36"/>
    <p:sldId id="1482" r:id="rId37"/>
    <p:sldId id="1475" r:id="rId38"/>
    <p:sldId id="1483" r:id="rId39"/>
    <p:sldId id="1923" r:id="rId40"/>
    <p:sldId id="1476" r:id="rId41"/>
    <p:sldId id="1523" r:id="rId42"/>
    <p:sldId id="1524" r:id="rId43"/>
    <p:sldId id="1595" r:id="rId44"/>
    <p:sldId id="1639" r:id="rId45"/>
    <p:sldId id="1802" r:id="rId46"/>
    <p:sldId id="1829" r:id="rId47"/>
    <p:sldId id="1823" r:id="rId48"/>
    <p:sldId id="1845" r:id="rId49"/>
    <p:sldId id="1864" r:id="rId50"/>
    <p:sldId id="1866" r:id="rId51"/>
    <p:sldId id="1886" r:id="rId52"/>
    <p:sldId id="1528" r:id="rId53"/>
    <p:sldId id="1530" r:id="rId54"/>
    <p:sldId id="1571" r:id="rId55"/>
    <p:sldId id="1572" r:id="rId56"/>
    <p:sldId id="1596" r:id="rId57"/>
    <p:sldId id="1615" r:id="rId58"/>
    <p:sldId id="1617" r:id="rId59"/>
    <p:sldId id="1641" r:id="rId60"/>
    <p:sldId id="1784" r:id="rId61"/>
    <p:sldId id="1804" r:id="rId62"/>
    <p:sldId id="1888" r:id="rId63"/>
    <p:sldId id="1907" r:id="rId64"/>
    <p:sldId id="1592" r:id="rId65"/>
    <p:sldId id="1593" r:id="rId66"/>
  </p:sldIdLst>
  <p:sldSz cx="12192000" cy="6858000"/>
  <p:notesSz cx="6858000" cy="9144000"/>
  <p:custDataLst>
    <p:tags r:id="rId6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1" autoAdjust="0"/>
    <p:restoredTop sz="96400" autoAdjust="0"/>
  </p:normalViewPr>
  <p:slideViewPr>
    <p:cSldViewPr snapToGrid="0">
      <p:cViewPr varScale="1">
        <p:scale>
          <a:sx n="66" d="100"/>
          <a:sy n="66" d="100"/>
        </p:scale>
        <p:origin x="996" y="8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W$1</c:f>
              <c:strCache>
                <c:ptCount val="100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  <c:pt idx="95">
                  <c:v>21.2.–27.2.</c:v>
                </c:pt>
                <c:pt idx="96">
                  <c:v>28.2.–6.3.</c:v>
                </c:pt>
                <c:pt idx="97">
                  <c:v>7.3.–13.3.</c:v>
                </c:pt>
                <c:pt idx="98">
                  <c:v>14.3.–20.3.</c:v>
                </c:pt>
                <c:pt idx="99">
                  <c:v>21.3.–27.3.</c:v>
                </c:pt>
              </c:strCache>
            </c:strRef>
          </c:cat>
          <c:val>
            <c:numRef>
              <c:f>List1!$B$2:$CW$2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53</c:v>
                </c:pt>
                <c:pt idx="91">
                  <c:v>308</c:v>
                </c:pt>
                <c:pt idx="92">
                  <c:v>486</c:v>
                </c:pt>
                <c:pt idx="93">
                  <c:v>823</c:v>
                </c:pt>
                <c:pt idx="94">
                  <c:v>337</c:v>
                </c:pt>
                <c:pt idx="95">
                  <c:v>294</c:v>
                </c:pt>
                <c:pt idx="96">
                  <c:v>110</c:v>
                </c:pt>
                <c:pt idx="97">
                  <c:v>203</c:v>
                </c:pt>
                <c:pt idx="98">
                  <c:v>126</c:v>
                </c:pt>
                <c:pt idx="99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59406043661888042</c:v>
                </c:pt>
                <c:pt idx="1">
                  <c:v>0.40593956338111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5665632952759734</c:v>
                </c:pt>
                <c:pt idx="1">
                  <c:v>0.34334367047240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3957069106063</c:v>
                </c:pt>
                <c:pt idx="1">
                  <c:v>8.60429308939407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848371615928488</c:v>
                </c:pt>
                <c:pt idx="1">
                  <c:v>0.13151628384071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691225014682355</c:v>
                </c:pt>
                <c:pt idx="1">
                  <c:v>7.30877498531764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B$2:$B$572</c:f>
              <c:numCache>
                <c:formatCode>General</c:formatCode>
                <c:ptCount val="57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14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5</c:v>
                </c:pt>
                <c:pt idx="18">
                  <c:v>26</c:v>
                </c:pt>
                <c:pt idx="19">
                  <c:v>30</c:v>
                </c:pt>
                <c:pt idx="20">
                  <c:v>31</c:v>
                </c:pt>
                <c:pt idx="21">
                  <c:v>32</c:v>
                </c:pt>
                <c:pt idx="22">
                  <c:v>33</c:v>
                </c:pt>
                <c:pt idx="23">
                  <c:v>36</c:v>
                </c:pt>
                <c:pt idx="24">
                  <c:v>37</c:v>
                </c:pt>
                <c:pt idx="25">
                  <c:v>42</c:v>
                </c:pt>
                <c:pt idx="26">
                  <c:v>49</c:v>
                </c:pt>
                <c:pt idx="27">
                  <c:v>52</c:v>
                </c:pt>
                <c:pt idx="28">
                  <c:v>57</c:v>
                </c:pt>
                <c:pt idx="29">
                  <c:v>85</c:v>
                </c:pt>
                <c:pt idx="30">
                  <c:v>116</c:v>
                </c:pt>
                <c:pt idx="31">
                  <c:v>179</c:v>
                </c:pt>
                <c:pt idx="32">
                  <c:v>215</c:v>
                </c:pt>
                <c:pt idx="33">
                  <c:v>272</c:v>
                </c:pt>
                <c:pt idx="34">
                  <c:v>440</c:v>
                </c:pt>
                <c:pt idx="35">
                  <c:v>523</c:v>
                </c:pt>
                <c:pt idx="36">
                  <c:v>568</c:v>
                </c:pt>
                <c:pt idx="37">
                  <c:v>648</c:v>
                </c:pt>
                <c:pt idx="38">
                  <c:v>787</c:v>
                </c:pt>
                <c:pt idx="39">
                  <c:v>817</c:v>
                </c:pt>
                <c:pt idx="40">
                  <c:v>830</c:v>
                </c:pt>
                <c:pt idx="41">
                  <c:v>969</c:v>
                </c:pt>
                <c:pt idx="42">
                  <c:v>1194</c:v>
                </c:pt>
                <c:pt idx="43">
                  <c:v>1376</c:v>
                </c:pt>
                <c:pt idx="44">
                  <c:v>1577</c:v>
                </c:pt>
                <c:pt idx="45">
                  <c:v>1783</c:v>
                </c:pt>
                <c:pt idx="46">
                  <c:v>1940</c:v>
                </c:pt>
                <c:pt idx="47">
                  <c:v>1981</c:v>
                </c:pt>
                <c:pt idx="48">
                  <c:v>2227</c:v>
                </c:pt>
                <c:pt idx="49">
                  <c:v>2430</c:v>
                </c:pt>
                <c:pt idx="50">
                  <c:v>2757</c:v>
                </c:pt>
                <c:pt idx="51">
                  <c:v>2995</c:v>
                </c:pt>
                <c:pt idx="52">
                  <c:v>3419</c:v>
                </c:pt>
                <c:pt idx="53">
                  <c:v>3650</c:v>
                </c:pt>
                <c:pt idx="54">
                  <c:v>3850</c:v>
                </c:pt>
                <c:pt idx="55">
                  <c:v>4241</c:v>
                </c:pt>
                <c:pt idx="56">
                  <c:v>4778</c:v>
                </c:pt>
                <c:pt idx="57">
                  <c:v>5044</c:v>
                </c:pt>
                <c:pt idx="58">
                  <c:v>5592</c:v>
                </c:pt>
                <c:pt idx="59">
                  <c:v>6181</c:v>
                </c:pt>
                <c:pt idx="60">
                  <c:v>6521</c:v>
                </c:pt>
                <c:pt idx="61">
                  <c:v>6738</c:v>
                </c:pt>
                <c:pt idx="62">
                  <c:v>7075</c:v>
                </c:pt>
                <c:pt idx="63">
                  <c:v>7426</c:v>
                </c:pt>
                <c:pt idx="64">
                  <c:v>7853</c:v>
                </c:pt>
                <c:pt idx="65">
                  <c:v>8395</c:v>
                </c:pt>
                <c:pt idx="66">
                  <c:v>8896</c:v>
                </c:pt>
                <c:pt idx="67">
                  <c:v>9112</c:v>
                </c:pt>
                <c:pt idx="68">
                  <c:v>9195</c:v>
                </c:pt>
                <c:pt idx="69">
                  <c:v>9404</c:v>
                </c:pt>
                <c:pt idx="70">
                  <c:v>9791</c:v>
                </c:pt>
                <c:pt idx="71">
                  <c:v>10475</c:v>
                </c:pt>
                <c:pt idx="72">
                  <c:v>10981</c:v>
                </c:pt>
                <c:pt idx="73">
                  <c:v>11467</c:v>
                </c:pt>
                <c:pt idx="74">
                  <c:v>11653</c:v>
                </c:pt>
                <c:pt idx="75">
                  <c:v>11823</c:v>
                </c:pt>
                <c:pt idx="76">
                  <c:v>12215</c:v>
                </c:pt>
                <c:pt idx="77">
                  <c:v>12354</c:v>
                </c:pt>
                <c:pt idx="78">
                  <c:v>12628</c:v>
                </c:pt>
                <c:pt idx="79">
                  <c:v>12904</c:v>
                </c:pt>
                <c:pt idx="80">
                  <c:v>13150</c:v>
                </c:pt>
                <c:pt idx="81">
                  <c:v>13246</c:v>
                </c:pt>
                <c:pt idx="82">
                  <c:v>13339</c:v>
                </c:pt>
                <c:pt idx="83">
                  <c:v>13725</c:v>
                </c:pt>
                <c:pt idx="84">
                  <c:v>13927</c:v>
                </c:pt>
                <c:pt idx="85">
                  <c:v>14058</c:v>
                </c:pt>
                <c:pt idx="86">
                  <c:v>14257</c:v>
                </c:pt>
                <c:pt idx="87">
                  <c:v>14397</c:v>
                </c:pt>
                <c:pt idx="88">
                  <c:v>14476</c:v>
                </c:pt>
                <c:pt idx="89">
                  <c:v>14505</c:v>
                </c:pt>
                <c:pt idx="90">
                  <c:v>14719</c:v>
                </c:pt>
                <c:pt idx="91">
                  <c:v>14845</c:v>
                </c:pt>
                <c:pt idx="92">
                  <c:v>14981</c:v>
                </c:pt>
                <c:pt idx="93">
                  <c:v>15114</c:v>
                </c:pt>
                <c:pt idx="94">
                  <c:v>15264</c:v>
                </c:pt>
                <c:pt idx="95">
                  <c:v>15353</c:v>
                </c:pt>
                <c:pt idx="96">
                  <c:v>15376</c:v>
                </c:pt>
                <c:pt idx="97">
                  <c:v>15522</c:v>
                </c:pt>
                <c:pt idx="98">
                  <c:v>15614</c:v>
                </c:pt>
                <c:pt idx="99">
                  <c:v>15756</c:v>
                </c:pt>
                <c:pt idx="100">
                  <c:v>15841</c:v>
                </c:pt>
                <c:pt idx="101">
                  <c:v>16081</c:v>
                </c:pt>
                <c:pt idx="102">
                  <c:v>16148</c:v>
                </c:pt>
                <c:pt idx="103">
                  <c:v>16199</c:v>
                </c:pt>
                <c:pt idx="104">
                  <c:v>16349</c:v>
                </c:pt>
                <c:pt idx="105">
                  <c:v>16483</c:v>
                </c:pt>
                <c:pt idx="106">
                  <c:v>16583</c:v>
                </c:pt>
                <c:pt idx="107">
                  <c:v>16653</c:v>
                </c:pt>
                <c:pt idx="108">
                  <c:v>16877</c:v>
                </c:pt>
                <c:pt idx="109">
                  <c:v>16938</c:v>
                </c:pt>
                <c:pt idx="110">
                  <c:v>16960</c:v>
                </c:pt>
                <c:pt idx="111">
                  <c:v>17140</c:v>
                </c:pt>
                <c:pt idx="112">
                  <c:v>17318</c:v>
                </c:pt>
                <c:pt idx="113">
                  <c:v>17442</c:v>
                </c:pt>
                <c:pt idx="114">
                  <c:v>17461</c:v>
                </c:pt>
                <c:pt idx="115">
                  <c:v>17534</c:v>
                </c:pt>
                <c:pt idx="116">
                  <c:v>17614</c:v>
                </c:pt>
                <c:pt idx="117">
                  <c:v>17712</c:v>
                </c:pt>
                <c:pt idx="118">
                  <c:v>17878</c:v>
                </c:pt>
                <c:pt idx="119">
                  <c:v>18063</c:v>
                </c:pt>
                <c:pt idx="120">
                  <c:v>18211</c:v>
                </c:pt>
                <c:pt idx="121">
                  <c:v>18348</c:v>
                </c:pt>
                <c:pt idx="122">
                  <c:v>18415</c:v>
                </c:pt>
                <c:pt idx="123">
                  <c:v>18477</c:v>
                </c:pt>
                <c:pt idx="124">
                  <c:v>18520</c:v>
                </c:pt>
                <c:pt idx="125">
                  <c:v>18791</c:v>
                </c:pt>
                <c:pt idx="126">
                  <c:v>18947</c:v>
                </c:pt>
                <c:pt idx="127">
                  <c:v>19111</c:v>
                </c:pt>
                <c:pt idx="128">
                  <c:v>19347</c:v>
                </c:pt>
                <c:pt idx="129">
                  <c:v>19537</c:v>
                </c:pt>
                <c:pt idx="130">
                  <c:v>19603</c:v>
                </c:pt>
                <c:pt idx="131">
                  <c:v>19640</c:v>
                </c:pt>
                <c:pt idx="132">
                  <c:v>19885</c:v>
                </c:pt>
                <c:pt idx="133">
                  <c:v>20015</c:v>
                </c:pt>
                <c:pt idx="134">
                  <c:v>20190</c:v>
                </c:pt>
                <c:pt idx="135">
                  <c:v>20289</c:v>
                </c:pt>
                <c:pt idx="136">
                  <c:v>20381</c:v>
                </c:pt>
                <c:pt idx="137">
                  <c:v>20417</c:v>
                </c:pt>
                <c:pt idx="138">
                  <c:v>20466</c:v>
                </c:pt>
                <c:pt idx="139">
                  <c:v>20633</c:v>
                </c:pt>
                <c:pt idx="140">
                  <c:v>20717</c:v>
                </c:pt>
                <c:pt idx="141">
                  <c:v>20864</c:v>
                </c:pt>
                <c:pt idx="142">
                  <c:v>20972</c:v>
                </c:pt>
                <c:pt idx="143">
                  <c:v>21091</c:v>
                </c:pt>
                <c:pt idx="144">
                  <c:v>21145</c:v>
                </c:pt>
                <c:pt idx="145">
                  <c:v>21171</c:v>
                </c:pt>
                <c:pt idx="146">
                  <c:v>21259</c:v>
                </c:pt>
                <c:pt idx="147">
                  <c:v>21302</c:v>
                </c:pt>
                <c:pt idx="148">
                  <c:v>21398</c:v>
                </c:pt>
                <c:pt idx="149">
                  <c:v>21466</c:v>
                </c:pt>
                <c:pt idx="150">
                  <c:v>21504</c:v>
                </c:pt>
                <c:pt idx="151">
                  <c:v>21553</c:v>
                </c:pt>
                <c:pt idx="152">
                  <c:v>21563</c:v>
                </c:pt>
                <c:pt idx="153">
                  <c:v>21671</c:v>
                </c:pt>
                <c:pt idx="154">
                  <c:v>21769</c:v>
                </c:pt>
                <c:pt idx="155">
                  <c:v>21872</c:v>
                </c:pt>
                <c:pt idx="156">
                  <c:v>21958</c:v>
                </c:pt>
                <c:pt idx="157">
                  <c:v>22044</c:v>
                </c:pt>
                <c:pt idx="158">
                  <c:v>22088</c:v>
                </c:pt>
                <c:pt idx="159">
                  <c:v>22105</c:v>
                </c:pt>
                <c:pt idx="160">
                  <c:v>22171</c:v>
                </c:pt>
                <c:pt idx="161">
                  <c:v>22238</c:v>
                </c:pt>
                <c:pt idx="162">
                  <c:v>22306</c:v>
                </c:pt>
                <c:pt idx="163">
                  <c:v>22376</c:v>
                </c:pt>
                <c:pt idx="164">
                  <c:v>22428</c:v>
                </c:pt>
                <c:pt idx="165">
                  <c:v>22437</c:v>
                </c:pt>
                <c:pt idx="166">
                  <c:v>22451</c:v>
                </c:pt>
                <c:pt idx="167">
                  <c:v>22489</c:v>
                </c:pt>
                <c:pt idx="168">
                  <c:v>22508</c:v>
                </c:pt>
                <c:pt idx="169">
                  <c:v>22538</c:v>
                </c:pt>
                <c:pt idx="170">
                  <c:v>22569</c:v>
                </c:pt>
                <c:pt idx="171">
                  <c:v>22598</c:v>
                </c:pt>
                <c:pt idx="172">
                  <c:v>22617</c:v>
                </c:pt>
                <c:pt idx="173">
                  <c:v>22625</c:v>
                </c:pt>
                <c:pt idx="174">
                  <c:v>22717</c:v>
                </c:pt>
                <c:pt idx="175">
                  <c:v>22754</c:v>
                </c:pt>
                <c:pt idx="176">
                  <c:v>22790</c:v>
                </c:pt>
                <c:pt idx="177">
                  <c:v>22836</c:v>
                </c:pt>
                <c:pt idx="178">
                  <c:v>22885</c:v>
                </c:pt>
                <c:pt idx="179">
                  <c:v>22896</c:v>
                </c:pt>
                <c:pt idx="180">
                  <c:v>22899</c:v>
                </c:pt>
                <c:pt idx="181">
                  <c:v>22978</c:v>
                </c:pt>
                <c:pt idx="182">
                  <c:v>23007</c:v>
                </c:pt>
                <c:pt idx="183">
                  <c:v>23051</c:v>
                </c:pt>
                <c:pt idx="184">
                  <c:v>23062</c:v>
                </c:pt>
                <c:pt idx="185">
                  <c:v>23088</c:v>
                </c:pt>
                <c:pt idx="186">
                  <c:v>23093</c:v>
                </c:pt>
                <c:pt idx="187">
                  <c:v>23099</c:v>
                </c:pt>
                <c:pt idx="188">
                  <c:v>23127</c:v>
                </c:pt>
                <c:pt idx="189">
                  <c:v>23242</c:v>
                </c:pt>
                <c:pt idx="190">
                  <c:v>23316</c:v>
                </c:pt>
                <c:pt idx="191">
                  <c:v>23331</c:v>
                </c:pt>
                <c:pt idx="192">
                  <c:v>23365</c:v>
                </c:pt>
                <c:pt idx="193">
                  <c:v>23374</c:v>
                </c:pt>
                <c:pt idx="194">
                  <c:v>23381</c:v>
                </c:pt>
                <c:pt idx="195">
                  <c:v>23413</c:v>
                </c:pt>
                <c:pt idx="196">
                  <c:v>23435</c:v>
                </c:pt>
                <c:pt idx="197">
                  <c:v>23447</c:v>
                </c:pt>
                <c:pt idx="198">
                  <c:v>23484</c:v>
                </c:pt>
                <c:pt idx="199">
                  <c:v>23503</c:v>
                </c:pt>
                <c:pt idx="200">
                  <c:v>23513</c:v>
                </c:pt>
                <c:pt idx="201">
                  <c:v>23517</c:v>
                </c:pt>
                <c:pt idx="202">
                  <c:v>23530</c:v>
                </c:pt>
                <c:pt idx="203">
                  <c:v>23561</c:v>
                </c:pt>
                <c:pt idx="204">
                  <c:v>23584</c:v>
                </c:pt>
                <c:pt idx="205">
                  <c:v>23616</c:v>
                </c:pt>
                <c:pt idx="206">
                  <c:v>23623</c:v>
                </c:pt>
                <c:pt idx="207">
                  <c:v>23626</c:v>
                </c:pt>
                <c:pt idx="208">
                  <c:v>23630</c:v>
                </c:pt>
                <c:pt idx="209">
                  <c:v>23652</c:v>
                </c:pt>
                <c:pt idx="210">
                  <c:v>23665</c:v>
                </c:pt>
                <c:pt idx="211">
                  <c:v>23676</c:v>
                </c:pt>
                <c:pt idx="212">
                  <c:v>23687</c:v>
                </c:pt>
                <c:pt idx="213">
                  <c:v>23691</c:v>
                </c:pt>
                <c:pt idx="214">
                  <c:v>23695</c:v>
                </c:pt>
                <c:pt idx="215">
                  <c:v>23697</c:v>
                </c:pt>
                <c:pt idx="216">
                  <c:v>23698</c:v>
                </c:pt>
                <c:pt idx="217">
                  <c:v>23704</c:v>
                </c:pt>
                <c:pt idx="218">
                  <c:v>23723</c:v>
                </c:pt>
                <c:pt idx="219">
                  <c:v>23725</c:v>
                </c:pt>
                <c:pt idx="220">
                  <c:v>23728</c:v>
                </c:pt>
                <c:pt idx="221">
                  <c:v>23729</c:v>
                </c:pt>
                <c:pt idx="222">
                  <c:v>23729</c:v>
                </c:pt>
                <c:pt idx="223">
                  <c:v>23731</c:v>
                </c:pt>
                <c:pt idx="224">
                  <c:v>23735</c:v>
                </c:pt>
                <c:pt idx="225">
                  <c:v>23739</c:v>
                </c:pt>
                <c:pt idx="226">
                  <c:v>23743</c:v>
                </c:pt>
                <c:pt idx="227">
                  <c:v>23745</c:v>
                </c:pt>
                <c:pt idx="228">
                  <c:v>23746</c:v>
                </c:pt>
                <c:pt idx="229">
                  <c:v>23748</c:v>
                </c:pt>
                <c:pt idx="230">
                  <c:v>23756</c:v>
                </c:pt>
                <c:pt idx="231">
                  <c:v>23761</c:v>
                </c:pt>
                <c:pt idx="232">
                  <c:v>23764</c:v>
                </c:pt>
                <c:pt idx="233">
                  <c:v>23783</c:v>
                </c:pt>
                <c:pt idx="234">
                  <c:v>23791</c:v>
                </c:pt>
                <c:pt idx="235">
                  <c:v>23792</c:v>
                </c:pt>
                <c:pt idx="236">
                  <c:v>23792</c:v>
                </c:pt>
                <c:pt idx="237">
                  <c:v>23794</c:v>
                </c:pt>
                <c:pt idx="238">
                  <c:v>23798</c:v>
                </c:pt>
                <c:pt idx="239">
                  <c:v>23799</c:v>
                </c:pt>
                <c:pt idx="240">
                  <c:v>23801</c:v>
                </c:pt>
                <c:pt idx="241">
                  <c:v>23802</c:v>
                </c:pt>
                <c:pt idx="242">
                  <c:v>23802</c:v>
                </c:pt>
                <c:pt idx="243">
                  <c:v>23802</c:v>
                </c:pt>
                <c:pt idx="244">
                  <c:v>23804</c:v>
                </c:pt>
                <c:pt idx="245">
                  <c:v>23804</c:v>
                </c:pt>
                <c:pt idx="246">
                  <c:v>23807</c:v>
                </c:pt>
                <c:pt idx="247">
                  <c:v>23808</c:v>
                </c:pt>
                <c:pt idx="248">
                  <c:v>23810</c:v>
                </c:pt>
                <c:pt idx="249">
                  <c:v>23810</c:v>
                </c:pt>
                <c:pt idx="250">
                  <c:v>23813</c:v>
                </c:pt>
                <c:pt idx="251">
                  <c:v>23818</c:v>
                </c:pt>
                <c:pt idx="252">
                  <c:v>23820</c:v>
                </c:pt>
                <c:pt idx="253">
                  <c:v>23820</c:v>
                </c:pt>
                <c:pt idx="254">
                  <c:v>23823</c:v>
                </c:pt>
                <c:pt idx="255">
                  <c:v>23828</c:v>
                </c:pt>
                <c:pt idx="256">
                  <c:v>23829</c:v>
                </c:pt>
                <c:pt idx="257">
                  <c:v>23829</c:v>
                </c:pt>
                <c:pt idx="258">
                  <c:v>23832</c:v>
                </c:pt>
                <c:pt idx="259">
                  <c:v>23832</c:v>
                </c:pt>
                <c:pt idx="260">
                  <c:v>23834</c:v>
                </c:pt>
                <c:pt idx="261">
                  <c:v>23834</c:v>
                </c:pt>
                <c:pt idx="262">
                  <c:v>23834</c:v>
                </c:pt>
                <c:pt idx="263">
                  <c:v>23834</c:v>
                </c:pt>
                <c:pt idx="264">
                  <c:v>23834</c:v>
                </c:pt>
                <c:pt idx="265">
                  <c:v>23836</c:v>
                </c:pt>
                <c:pt idx="266">
                  <c:v>23836</c:v>
                </c:pt>
                <c:pt idx="267">
                  <c:v>23836</c:v>
                </c:pt>
                <c:pt idx="268">
                  <c:v>23836</c:v>
                </c:pt>
                <c:pt idx="269">
                  <c:v>23836</c:v>
                </c:pt>
                <c:pt idx="270">
                  <c:v>23836</c:v>
                </c:pt>
                <c:pt idx="271">
                  <c:v>23836</c:v>
                </c:pt>
                <c:pt idx="272">
                  <c:v>23837</c:v>
                </c:pt>
                <c:pt idx="273">
                  <c:v>23837</c:v>
                </c:pt>
                <c:pt idx="274">
                  <c:v>23840</c:v>
                </c:pt>
                <c:pt idx="275">
                  <c:v>23841</c:v>
                </c:pt>
                <c:pt idx="276">
                  <c:v>23841</c:v>
                </c:pt>
                <c:pt idx="277">
                  <c:v>23841</c:v>
                </c:pt>
                <c:pt idx="278">
                  <c:v>23841</c:v>
                </c:pt>
                <c:pt idx="279">
                  <c:v>23842</c:v>
                </c:pt>
                <c:pt idx="280">
                  <c:v>23842</c:v>
                </c:pt>
                <c:pt idx="281">
                  <c:v>23842</c:v>
                </c:pt>
                <c:pt idx="282">
                  <c:v>23842</c:v>
                </c:pt>
                <c:pt idx="283">
                  <c:v>23843</c:v>
                </c:pt>
                <c:pt idx="284">
                  <c:v>23844</c:v>
                </c:pt>
                <c:pt idx="285">
                  <c:v>23844</c:v>
                </c:pt>
                <c:pt idx="286">
                  <c:v>23844</c:v>
                </c:pt>
                <c:pt idx="287">
                  <c:v>23844</c:v>
                </c:pt>
                <c:pt idx="288">
                  <c:v>23844</c:v>
                </c:pt>
                <c:pt idx="289">
                  <c:v>23845</c:v>
                </c:pt>
                <c:pt idx="290">
                  <c:v>23845</c:v>
                </c:pt>
                <c:pt idx="291">
                  <c:v>23845</c:v>
                </c:pt>
                <c:pt idx="292">
                  <c:v>23845</c:v>
                </c:pt>
                <c:pt idx="293">
                  <c:v>23845</c:v>
                </c:pt>
                <c:pt idx="294">
                  <c:v>23845</c:v>
                </c:pt>
                <c:pt idx="295">
                  <c:v>23846</c:v>
                </c:pt>
                <c:pt idx="296">
                  <c:v>23847</c:v>
                </c:pt>
                <c:pt idx="297">
                  <c:v>23847</c:v>
                </c:pt>
                <c:pt idx="298">
                  <c:v>23847</c:v>
                </c:pt>
                <c:pt idx="299">
                  <c:v>23847</c:v>
                </c:pt>
                <c:pt idx="300">
                  <c:v>23847</c:v>
                </c:pt>
                <c:pt idx="301">
                  <c:v>23847</c:v>
                </c:pt>
                <c:pt idx="302">
                  <c:v>23847</c:v>
                </c:pt>
                <c:pt idx="303">
                  <c:v>23848</c:v>
                </c:pt>
                <c:pt idx="304">
                  <c:v>23848</c:v>
                </c:pt>
                <c:pt idx="305">
                  <c:v>23848</c:v>
                </c:pt>
                <c:pt idx="306">
                  <c:v>23849</c:v>
                </c:pt>
                <c:pt idx="307">
                  <c:v>23849</c:v>
                </c:pt>
                <c:pt idx="308">
                  <c:v>23850</c:v>
                </c:pt>
                <c:pt idx="309">
                  <c:v>23850</c:v>
                </c:pt>
                <c:pt idx="310">
                  <c:v>23851</c:v>
                </c:pt>
                <c:pt idx="311">
                  <c:v>23851</c:v>
                </c:pt>
                <c:pt idx="312">
                  <c:v>23851</c:v>
                </c:pt>
                <c:pt idx="313">
                  <c:v>23851</c:v>
                </c:pt>
                <c:pt idx="314">
                  <c:v>23851</c:v>
                </c:pt>
                <c:pt idx="315">
                  <c:v>23851</c:v>
                </c:pt>
                <c:pt idx="316">
                  <c:v>23851</c:v>
                </c:pt>
                <c:pt idx="317">
                  <c:v>23851</c:v>
                </c:pt>
                <c:pt idx="318">
                  <c:v>23851</c:v>
                </c:pt>
                <c:pt idx="319">
                  <c:v>23851</c:v>
                </c:pt>
                <c:pt idx="320">
                  <c:v>23851</c:v>
                </c:pt>
                <c:pt idx="321">
                  <c:v>23851</c:v>
                </c:pt>
                <c:pt idx="322">
                  <c:v>23851</c:v>
                </c:pt>
                <c:pt idx="323">
                  <c:v>23851</c:v>
                </c:pt>
                <c:pt idx="324">
                  <c:v>23851</c:v>
                </c:pt>
                <c:pt idx="325">
                  <c:v>23851</c:v>
                </c:pt>
                <c:pt idx="326">
                  <c:v>23852</c:v>
                </c:pt>
                <c:pt idx="327">
                  <c:v>23852</c:v>
                </c:pt>
                <c:pt idx="328">
                  <c:v>23852</c:v>
                </c:pt>
                <c:pt idx="329">
                  <c:v>23852</c:v>
                </c:pt>
                <c:pt idx="330">
                  <c:v>23852</c:v>
                </c:pt>
                <c:pt idx="331">
                  <c:v>23852</c:v>
                </c:pt>
                <c:pt idx="332">
                  <c:v>23853</c:v>
                </c:pt>
                <c:pt idx="333">
                  <c:v>23853</c:v>
                </c:pt>
                <c:pt idx="334">
                  <c:v>23853</c:v>
                </c:pt>
                <c:pt idx="335">
                  <c:v>23853</c:v>
                </c:pt>
                <c:pt idx="336">
                  <c:v>23853</c:v>
                </c:pt>
                <c:pt idx="337">
                  <c:v>23853</c:v>
                </c:pt>
                <c:pt idx="338">
                  <c:v>23853</c:v>
                </c:pt>
                <c:pt idx="339">
                  <c:v>23853</c:v>
                </c:pt>
                <c:pt idx="340">
                  <c:v>23853</c:v>
                </c:pt>
                <c:pt idx="341">
                  <c:v>23853</c:v>
                </c:pt>
                <c:pt idx="342">
                  <c:v>23853</c:v>
                </c:pt>
                <c:pt idx="343">
                  <c:v>23853</c:v>
                </c:pt>
                <c:pt idx="344">
                  <c:v>23853</c:v>
                </c:pt>
                <c:pt idx="345">
                  <c:v>23853</c:v>
                </c:pt>
                <c:pt idx="346">
                  <c:v>23853</c:v>
                </c:pt>
                <c:pt idx="347">
                  <c:v>23853</c:v>
                </c:pt>
                <c:pt idx="348">
                  <c:v>23853</c:v>
                </c:pt>
                <c:pt idx="349">
                  <c:v>23854</c:v>
                </c:pt>
                <c:pt idx="350">
                  <c:v>23855</c:v>
                </c:pt>
                <c:pt idx="351">
                  <c:v>23855</c:v>
                </c:pt>
                <c:pt idx="352">
                  <c:v>23856</c:v>
                </c:pt>
                <c:pt idx="353">
                  <c:v>23856</c:v>
                </c:pt>
                <c:pt idx="354">
                  <c:v>23856</c:v>
                </c:pt>
                <c:pt idx="355">
                  <c:v>23856</c:v>
                </c:pt>
                <c:pt idx="356">
                  <c:v>23858</c:v>
                </c:pt>
                <c:pt idx="357">
                  <c:v>23858</c:v>
                </c:pt>
                <c:pt idx="358">
                  <c:v>23858</c:v>
                </c:pt>
                <c:pt idx="359">
                  <c:v>23858</c:v>
                </c:pt>
                <c:pt idx="360">
                  <c:v>23858</c:v>
                </c:pt>
                <c:pt idx="361">
                  <c:v>23858</c:v>
                </c:pt>
                <c:pt idx="362">
                  <c:v>23858</c:v>
                </c:pt>
                <c:pt idx="363">
                  <c:v>23858</c:v>
                </c:pt>
                <c:pt idx="364">
                  <c:v>23858</c:v>
                </c:pt>
                <c:pt idx="365">
                  <c:v>23859</c:v>
                </c:pt>
                <c:pt idx="366">
                  <c:v>23863</c:v>
                </c:pt>
                <c:pt idx="367">
                  <c:v>23865</c:v>
                </c:pt>
                <c:pt idx="368">
                  <c:v>23866</c:v>
                </c:pt>
                <c:pt idx="369">
                  <c:v>23866</c:v>
                </c:pt>
                <c:pt idx="370">
                  <c:v>23870</c:v>
                </c:pt>
                <c:pt idx="371">
                  <c:v>23870</c:v>
                </c:pt>
                <c:pt idx="372">
                  <c:v>23870</c:v>
                </c:pt>
                <c:pt idx="373">
                  <c:v>23871</c:v>
                </c:pt>
                <c:pt idx="374">
                  <c:v>23871</c:v>
                </c:pt>
                <c:pt idx="375">
                  <c:v>23871</c:v>
                </c:pt>
                <c:pt idx="376">
                  <c:v>23871</c:v>
                </c:pt>
                <c:pt idx="377">
                  <c:v>23872</c:v>
                </c:pt>
                <c:pt idx="378">
                  <c:v>23872</c:v>
                </c:pt>
                <c:pt idx="379">
                  <c:v>23872</c:v>
                </c:pt>
                <c:pt idx="380">
                  <c:v>23872</c:v>
                </c:pt>
                <c:pt idx="381">
                  <c:v>23872</c:v>
                </c:pt>
                <c:pt idx="382">
                  <c:v>23872</c:v>
                </c:pt>
                <c:pt idx="383">
                  <c:v>23872</c:v>
                </c:pt>
                <c:pt idx="384">
                  <c:v>23873</c:v>
                </c:pt>
                <c:pt idx="385">
                  <c:v>23877</c:v>
                </c:pt>
                <c:pt idx="386">
                  <c:v>23878</c:v>
                </c:pt>
                <c:pt idx="387">
                  <c:v>23878</c:v>
                </c:pt>
                <c:pt idx="388">
                  <c:v>23878</c:v>
                </c:pt>
                <c:pt idx="389">
                  <c:v>23878</c:v>
                </c:pt>
                <c:pt idx="390">
                  <c:v>23878</c:v>
                </c:pt>
                <c:pt idx="391">
                  <c:v>23880</c:v>
                </c:pt>
                <c:pt idx="392">
                  <c:v>23880</c:v>
                </c:pt>
                <c:pt idx="393">
                  <c:v>23881</c:v>
                </c:pt>
                <c:pt idx="394">
                  <c:v>23881</c:v>
                </c:pt>
                <c:pt idx="395">
                  <c:v>23881</c:v>
                </c:pt>
                <c:pt idx="396">
                  <c:v>23882</c:v>
                </c:pt>
                <c:pt idx="397">
                  <c:v>23883</c:v>
                </c:pt>
                <c:pt idx="398">
                  <c:v>23885</c:v>
                </c:pt>
                <c:pt idx="399">
                  <c:v>23887</c:v>
                </c:pt>
                <c:pt idx="400">
                  <c:v>23895</c:v>
                </c:pt>
                <c:pt idx="401">
                  <c:v>23897</c:v>
                </c:pt>
                <c:pt idx="402">
                  <c:v>23922</c:v>
                </c:pt>
                <c:pt idx="403">
                  <c:v>23923</c:v>
                </c:pt>
                <c:pt idx="404">
                  <c:v>23923</c:v>
                </c:pt>
                <c:pt idx="405">
                  <c:v>23924</c:v>
                </c:pt>
                <c:pt idx="406">
                  <c:v>23925</c:v>
                </c:pt>
                <c:pt idx="407">
                  <c:v>23945</c:v>
                </c:pt>
                <c:pt idx="408">
                  <c:v>23948</c:v>
                </c:pt>
                <c:pt idx="409">
                  <c:v>23950</c:v>
                </c:pt>
                <c:pt idx="410">
                  <c:v>23950</c:v>
                </c:pt>
                <c:pt idx="411">
                  <c:v>23950</c:v>
                </c:pt>
                <c:pt idx="412">
                  <c:v>23956</c:v>
                </c:pt>
                <c:pt idx="413">
                  <c:v>23961</c:v>
                </c:pt>
                <c:pt idx="414">
                  <c:v>23965</c:v>
                </c:pt>
                <c:pt idx="415">
                  <c:v>23967</c:v>
                </c:pt>
                <c:pt idx="416">
                  <c:v>23972</c:v>
                </c:pt>
                <c:pt idx="417">
                  <c:v>23973</c:v>
                </c:pt>
                <c:pt idx="418">
                  <c:v>23974</c:v>
                </c:pt>
                <c:pt idx="419">
                  <c:v>23988</c:v>
                </c:pt>
                <c:pt idx="420">
                  <c:v>23997</c:v>
                </c:pt>
                <c:pt idx="421">
                  <c:v>24008</c:v>
                </c:pt>
                <c:pt idx="422">
                  <c:v>24008</c:v>
                </c:pt>
                <c:pt idx="423">
                  <c:v>24027</c:v>
                </c:pt>
                <c:pt idx="424">
                  <c:v>24034</c:v>
                </c:pt>
                <c:pt idx="425">
                  <c:v>24045</c:v>
                </c:pt>
                <c:pt idx="426">
                  <c:v>24080</c:v>
                </c:pt>
                <c:pt idx="427">
                  <c:v>24095</c:v>
                </c:pt>
                <c:pt idx="428">
                  <c:v>24111</c:v>
                </c:pt>
                <c:pt idx="429">
                  <c:v>24164</c:v>
                </c:pt>
                <c:pt idx="430">
                  <c:v>24187</c:v>
                </c:pt>
                <c:pt idx="431">
                  <c:v>24193</c:v>
                </c:pt>
                <c:pt idx="432">
                  <c:v>24198</c:v>
                </c:pt>
                <c:pt idx="433">
                  <c:v>24228</c:v>
                </c:pt>
                <c:pt idx="434">
                  <c:v>24258</c:v>
                </c:pt>
                <c:pt idx="435">
                  <c:v>24274</c:v>
                </c:pt>
                <c:pt idx="436">
                  <c:v>24293</c:v>
                </c:pt>
                <c:pt idx="437">
                  <c:v>24310</c:v>
                </c:pt>
                <c:pt idx="438">
                  <c:v>24323</c:v>
                </c:pt>
                <c:pt idx="439">
                  <c:v>24338</c:v>
                </c:pt>
                <c:pt idx="440">
                  <c:v>24381</c:v>
                </c:pt>
                <c:pt idx="441">
                  <c:v>24413</c:v>
                </c:pt>
                <c:pt idx="442">
                  <c:v>24438</c:v>
                </c:pt>
                <c:pt idx="443">
                  <c:v>24494</c:v>
                </c:pt>
                <c:pt idx="444">
                  <c:v>24579</c:v>
                </c:pt>
                <c:pt idx="445">
                  <c:v>24605</c:v>
                </c:pt>
                <c:pt idx="446">
                  <c:v>24614</c:v>
                </c:pt>
                <c:pt idx="447">
                  <c:v>24664</c:v>
                </c:pt>
                <c:pt idx="448">
                  <c:v>24688</c:v>
                </c:pt>
                <c:pt idx="449">
                  <c:v>24730</c:v>
                </c:pt>
                <c:pt idx="450">
                  <c:v>24759</c:v>
                </c:pt>
                <c:pt idx="451">
                  <c:v>24812</c:v>
                </c:pt>
                <c:pt idx="452">
                  <c:v>24817</c:v>
                </c:pt>
                <c:pt idx="453">
                  <c:v>24824</c:v>
                </c:pt>
                <c:pt idx="454">
                  <c:v>24870</c:v>
                </c:pt>
                <c:pt idx="455">
                  <c:v>24885</c:v>
                </c:pt>
                <c:pt idx="456">
                  <c:v>24916</c:v>
                </c:pt>
                <c:pt idx="457">
                  <c:v>24947</c:v>
                </c:pt>
                <c:pt idx="458">
                  <c:v>24961</c:v>
                </c:pt>
                <c:pt idx="459">
                  <c:v>24999</c:v>
                </c:pt>
                <c:pt idx="460">
                  <c:v>25006</c:v>
                </c:pt>
                <c:pt idx="461">
                  <c:v>25037</c:v>
                </c:pt>
                <c:pt idx="462">
                  <c:v>25059</c:v>
                </c:pt>
                <c:pt idx="463">
                  <c:v>25077</c:v>
                </c:pt>
                <c:pt idx="464">
                  <c:v>25108</c:v>
                </c:pt>
                <c:pt idx="465">
                  <c:v>25138</c:v>
                </c:pt>
                <c:pt idx="466">
                  <c:v>25144</c:v>
                </c:pt>
                <c:pt idx="467">
                  <c:v>25145</c:v>
                </c:pt>
                <c:pt idx="468">
                  <c:v>25163</c:v>
                </c:pt>
                <c:pt idx="469">
                  <c:v>25190</c:v>
                </c:pt>
                <c:pt idx="470">
                  <c:v>25207</c:v>
                </c:pt>
                <c:pt idx="471">
                  <c:v>25215</c:v>
                </c:pt>
                <c:pt idx="472">
                  <c:v>25227</c:v>
                </c:pt>
                <c:pt idx="473">
                  <c:v>25229</c:v>
                </c:pt>
                <c:pt idx="474">
                  <c:v>25232</c:v>
                </c:pt>
                <c:pt idx="475">
                  <c:v>25248</c:v>
                </c:pt>
                <c:pt idx="476">
                  <c:v>25256</c:v>
                </c:pt>
                <c:pt idx="477">
                  <c:v>25259</c:v>
                </c:pt>
                <c:pt idx="478">
                  <c:v>25264</c:v>
                </c:pt>
                <c:pt idx="479">
                  <c:v>25265</c:v>
                </c:pt>
                <c:pt idx="480">
                  <c:v>25270</c:v>
                </c:pt>
                <c:pt idx="481">
                  <c:v>25270</c:v>
                </c:pt>
                <c:pt idx="482">
                  <c:v>25280</c:v>
                </c:pt>
                <c:pt idx="483">
                  <c:v>25287</c:v>
                </c:pt>
                <c:pt idx="484">
                  <c:v>25293</c:v>
                </c:pt>
                <c:pt idx="485">
                  <c:v>25295</c:v>
                </c:pt>
                <c:pt idx="486">
                  <c:v>25305</c:v>
                </c:pt>
                <c:pt idx="487">
                  <c:v>25308</c:v>
                </c:pt>
                <c:pt idx="488">
                  <c:v>25308</c:v>
                </c:pt>
                <c:pt idx="489">
                  <c:v>25312</c:v>
                </c:pt>
                <c:pt idx="490">
                  <c:v>25318</c:v>
                </c:pt>
                <c:pt idx="491">
                  <c:v>25325</c:v>
                </c:pt>
                <c:pt idx="492">
                  <c:v>25332</c:v>
                </c:pt>
                <c:pt idx="493">
                  <c:v>25338</c:v>
                </c:pt>
                <c:pt idx="494">
                  <c:v>25339</c:v>
                </c:pt>
                <c:pt idx="495">
                  <c:v>25341</c:v>
                </c:pt>
                <c:pt idx="496">
                  <c:v>25342</c:v>
                </c:pt>
                <c:pt idx="497">
                  <c:v>25350</c:v>
                </c:pt>
                <c:pt idx="498">
                  <c:v>25354</c:v>
                </c:pt>
                <c:pt idx="499">
                  <c:v>25357</c:v>
                </c:pt>
                <c:pt idx="500">
                  <c:v>25365</c:v>
                </c:pt>
                <c:pt idx="501">
                  <c:v>25366</c:v>
                </c:pt>
                <c:pt idx="502">
                  <c:v>25370</c:v>
                </c:pt>
                <c:pt idx="503">
                  <c:v>25391</c:v>
                </c:pt>
                <c:pt idx="504">
                  <c:v>25404</c:v>
                </c:pt>
                <c:pt idx="505">
                  <c:v>25415</c:v>
                </c:pt>
                <c:pt idx="506">
                  <c:v>25437</c:v>
                </c:pt>
                <c:pt idx="507">
                  <c:v>25453</c:v>
                </c:pt>
                <c:pt idx="508">
                  <c:v>25485</c:v>
                </c:pt>
                <c:pt idx="509">
                  <c:v>25491</c:v>
                </c:pt>
                <c:pt idx="510">
                  <c:v>25536</c:v>
                </c:pt>
                <c:pt idx="511">
                  <c:v>25574</c:v>
                </c:pt>
                <c:pt idx="512">
                  <c:v>25613</c:v>
                </c:pt>
                <c:pt idx="513">
                  <c:v>25638</c:v>
                </c:pt>
                <c:pt idx="514">
                  <c:v>25685</c:v>
                </c:pt>
                <c:pt idx="515">
                  <c:v>25689</c:v>
                </c:pt>
                <c:pt idx="516">
                  <c:v>25695</c:v>
                </c:pt>
                <c:pt idx="517">
                  <c:v>25737</c:v>
                </c:pt>
                <c:pt idx="518">
                  <c:v>25790</c:v>
                </c:pt>
                <c:pt idx="519">
                  <c:v>25823</c:v>
                </c:pt>
                <c:pt idx="520">
                  <c:v>25844</c:v>
                </c:pt>
                <c:pt idx="521">
                  <c:v>25901</c:v>
                </c:pt>
                <c:pt idx="522">
                  <c:v>25921</c:v>
                </c:pt>
                <c:pt idx="523">
                  <c:v>25936</c:v>
                </c:pt>
                <c:pt idx="524">
                  <c:v>26025</c:v>
                </c:pt>
                <c:pt idx="525">
                  <c:v>26076</c:v>
                </c:pt>
                <c:pt idx="526">
                  <c:v>26105</c:v>
                </c:pt>
                <c:pt idx="527">
                  <c:v>26145</c:v>
                </c:pt>
                <c:pt idx="528">
                  <c:v>26210</c:v>
                </c:pt>
                <c:pt idx="529">
                  <c:v>26230</c:v>
                </c:pt>
                <c:pt idx="530">
                  <c:v>26246</c:v>
                </c:pt>
                <c:pt idx="531">
                  <c:v>26308</c:v>
                </c:pt>
                <c:pt idx="532">
                  <c:v>26362</c:v>
                </c:pt>
                <c:pt idx="533">
                  <c:v>26412</c:v>
                </c:pt>
                <c:pt idx="534">
                  <c:v>26493</c:v>
                </c:pt>
                <c:pt idx="535">
                  <c:v>26531</c:v>
                </c:pt>
                <c:pt idx="536">
                  <c:v>26539</c:v>
                </c:pt>
                <c:pt idx="537">
                  <c:v>26552</c:v>
                </c:pt>
                <c:pt idx="538">
                  <c:v>26591</c:v>
                </c:pt>
                <c:pt idx="539">
                  <c:v>26653</c:v>
                </c:pt>
                <c:pt idx="540">
                  <c:v>26700</c:v>
                </c:pt>
                <c:pt idx="541">
                  <c:v>26722</c:v>
                </c:pt>
                <c:pt idx="542">
                  <c:v>26762</c:v>
                </c:pt>
                <c:pt idx="543">
                  <c:v>26772</c:v>
                </c:pt>
                <c:pt idx="544">
                  <c:v>26777</c:v>
                </c:pt>
                <c:pt idx="545">
                  <c:v>26818</c:v>
                </c:pt>
                <c:pt idx="546">
                  <c:v>26842</c:v>
                </c:pt>
                <c:pt idx="547">
                  <c:v>26875</c:v>
                </c:pt>
                <c:pt idx="548">
                  <c:v>26891</c:v>
                </c:pt>
                <c:pt idx="549">
                  <c:v>26909</c:v>
                </c:pt>
                <c:pt idx="550">
                  <c:v>26919</c:v>
                </c:pt>
                <c:pt idx="551">
                  <c:v>26926</c:v>
                </c:pt>
                <c:pt idx="552">
                  <c:v>26956</c:v>
                </c:pt>
                <c:pt idx="553">
                  <c:v>27012</c:v>
                </c:pt>
                <c:pt idx="554">
                  <c:v>27031</c:v>
                </c:pt>
                <c:pt idx="555">
                  <c:v>27057</c:v>
                </c:pt>
                <c:pt idx="556">
                  <c:v>27075</c:v>
                </c:pt>
                <c:pt idx="557">
                  <c:v>27079</c:v>
                </c:pt>
                <c:pt idx="558">
                  <c:v>27082</c:v>
                </c:pt>
                <c:pt idx="559">
                  <c:v>27099</c:v>
                </c:pt>
                <c:pt idx="560">
                  <c:v>27117</c:v>
                </c:pt>
                <c:pt idx="561">
                  <c:v>27136</c:v>
                </c:pt>
                <c:pt idx="562">
                  <c:v>27160</c:v>
                </c:pt>
                <c:pt idx="563">
                  <c:v>27176</c:v>
                </c:pt>
                <c:pt idx="564">
                  <c:v>27181</c:v>
                </c:pt>
                <c:pt idx="565">
                  <c:v>27185</c:v>
                </c:pt>
                <c:pt idx="566">
                  <c:v>27209</c:v>
                </c:pt>
                <c:pt idx="567">
                  <c:v>27238</c:v>
                </c:pt>
                <c:pt idx="568">
                  <c:v>27252</c:v>
                </c:pt>
                <c:pt idx="569">
                  <c:v>27283</c:v>
                </c:pt>
                <c:pt idx="570">
                  <c:v>27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C$2:$C$572</c:f>
              <c:numCache>
                <c:formatCode>General</c:formatCode>
                <c:ptCount val="571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6</c:v>
                </c:pt>
                <c:pt idx="14">
                  <c:v>18</c:v>
                </c:pt>
                <c:pt idx="15">
                  <c:v>20</c:v>
                </c:pt>
                <c:pt idx="16">
                  <c:v>22</c:v>
                </c:pt>
                <c:pt idx="17">
                  <c:v>24</c:v>
                </c:pt>
                <c:pt idx="18">
                  <c:v>26</c:v>
                </c:pt>
                <c:pt idx="19">
                  <c:v>30</c:v>
                </c:pt>
                <c:pt idx="20">
                  <c:v>36</c:v>
                </c:pt>
                <c:pt idx="21">
                  <c:v>43</c:v>
                </c:pt>
                <c:pt idx="22">
                  <c:v>44</c:v>
                </c:pt>
                <c:pt idx="23">
                  <c:v>48</c:v>
                </c:pt>
                <c:pt idx="24">
                  <c:v>60</c:v>
                </c:pt>
                <c:pt idx="25">
                  <c:v>67</c:v>
                </c:pt>
                <c:pt idx="26">
                  <c:v>69</c:v>
                </c:pt>
                <c:pt idx="27">
                  <c:v>75</c:v>
                </c:pt>
                <c:pt idx="28">
                  <c:v>101</c:v>
                </c:pt>
                <c:pt idx="29">
                  <c:v>111</c:v>
                </c:pt>
                <c:pt idx="30">
                  <c:v>141</c:v>
                </c:pt>
                <c:pt idx="31">
                  <c:v>239</c:v>
                </c:pt>
                <c:pt idx="32">
                  <c:v>272</c:v>
                </c:pt>
                <c:pt idx="33">
                  <c:v>304</c:v>
                </c:pt>
                <c:pt idx="34">
                  <c:v>411</c:v>
                </c:pt>
                <c:pt idx="35">
                  <c:v>462</c:v>
                </c:pt>
                <c:pt idx="36">
                  <c:v>506</c:v>
                </c:pt>
                <c:pt idx="37">
                  <c:v>594</c:v>
                </c:pt>
                <c:pt idx="38">
                  <c:v>688</c:v>
                </c:pt>
                <c:pt idx="39">
                  <c:v>739</c:v>
                </c:pt>
                <c:pt idx="40">
                  <c:v>765</c:v>
                </c:pt>
                <c:pt idx="41">
                  <c:v>943</c:v>
                </c:pt>
                <c:pt idx="42">
                  <c:v>1106</c:v>
                </c:pt>
                <c:pt idx="43">
                  <c:v>1305</c:v>
                </c:pt>
                <c:pt idx="44">
                  <c:v>1519</c:v>
                </c:pt>
                <c:pt idx="45">
                  <c:v>1736</c:v>
                </c:pt>
                <c:pt idx="46">
                  <c:v>1844</c:v>
                </c:pt>
                <c:pt idx="47">
                  <c:v>1895</c:v>
                </c:pt>
                <c:pt idx="48">
                  <c:v>2103</c:v>
                </c:pt>
                <c:pt idx="49">
                  <c:v>2308</c:v>
                </c:pt>
                <c:pt idx="50">
                  <c:v>2584</c:v>
                </c:pt>
                <c:pt idx="51">
                  <c:v>2826</c:v>
                </c:pt>
                <c:pt idx="52">
                  <c:v>3176</c:v>
                </c:pt>
                <c:pt idx="53">
                  <c:v>3366</c:v>
                </c:pt>
                <c:pt idx="54">
                  <c:v>3458</c:v>
                </c:pt>
                <c:pt idx="55">
                  <c:v>3849</c:v>
                </c:pt>
                <c:pt idx="56">
                  <c:v>4272</c:v>
                </c:pt>
                <c:pt idx="57">
                  <c:v>4411</c:v>
                </c:pt>
                <c:pt idx="58">
                  <c:v>4899</c:v>
                </c:pt>
                <c:pt idx="59">
                  <c:v>5247</c:v>
                </c:pt>
                <c:pt idx="60">
                  <c:v>5433</c:v>
                </c:pt>
                <c:pt idx="61">
                  <c:v>5554</c:v>
                </c:pt>
                <c:pt idx="62">
                  <c:v>5874</c:v>
                </c:pt>
                <c:pt idx="63">
                  <c:v>6121</c:v>
                </c:pt>
                <c:pt idx="64">
                  <c:v>6467</c:v>
                </c:pt>
                <c:pt idx="65">
                  <c:v>6763</c:v>
                </c:pt>
                <c:pt idx="66">
                  <c:v>7012</c:v>
                </c:pt>
                <c:pt idx="67">
                  <c:v>7135</c:v>
                </c:pt>
                <c:pt idx="68">
                  <c:v>7186</c:v>
                </c:pt>
                <c:pt idx="69">
                  <c:v>7396</c:v>
                </c:pt>
                <c:pt idx="70">
                  <c:v>7610</c:v>
                </c:pt>
                <c:pt idx="71">
                  <c:v>7889</c:v>
                </c:pt>
                <c:pt idx="72">
                  <c:v>8138</c:v>
                </c:pt>
                <c:pt idx="73">
                  <c:v>8349</c:v>
                </c:pt>
                <c:pt idx="74">
                  <c:v>8427</c:v>
                </c:pt>
                <c:pt idx="75">
                  <c:v>8461</c:v>
                </c:pt>
                <c:pt idx="76">
                  <c:v>8665</c:v>
                </c:pt>
                <c:pt idx="77">
                  <c:v>8719</c:v>
                </c:pt>
                <c:pt idx="78">
                  <c:v>8888</c:v>
                </c:pt>
                <c:pt idx="79">
                  <c:v>9027</c:v>
                </c:pt>
                <c:pt idx="80">
                  <c:v>9156</c:v>
                </c:pt>
                <c:pt idx="81">
                  <c:v>9197</c:v>
                </c:pt>
                <c:pt idx="82">
                  <c:v>9217</c:v>
                </c:pt>
                <c:pt idx="83">
                  <c:v>9370</c:v>
                </c:pt>
                <c:pt idx="84">
                  <c:v>9482</c:v>
                </c:pt>
                <c:pt idx="85">
                  <c:v>9580</c:v>
                </c:pt>
                <c:pt idx="86">
                  <c:v>9642</c:v>
                </c:pt>
                <c:pt idx="87">
                  <c:v>9726</c:v>
                </c:pt>
                <c:pt idx="88">
                  <c:v>9749</c:v>
                </c:pt>
                <c:pt idx="89">
                  <c:v>9765</c:v>
                </c:pt>
                <c:pt idx="90">
                  <c:v>9881</c:v>
                </c:pt>
                <c:pt idx="91">
                  <c:v>9974</c:v>
                </c:pt>
                <c:pt idx="92">
                  <c:v>10050</c:v>
                </c:pt>
                <c:pt idx="93">
                  <c:v>10114</c:v>
                </c:pt>
                <c:pt idx="94">
                  <c:v>10208</c:v>
                </c:pt>
                <c:pt idx="95">
                  <c:v>10250</c:v>
                </c:pt>
                <c:pt idx="96">
                  <c:v>10278</c:v>
                </c:pt>
                <c:pt idx="97">
                  <c:v>10401</c:v>
                </c:pt>
                <c:pt idx="98">
                  <c:v>10481</c:v>
                </c:pt>
                <c:pt idx="99">
                  <c:v>10547</c:v>
                </c:pt>
                <c:pt idx="100">
                  <c:v>10610</c:v>
                </c:pt>
                <c:pt idx="101">
                  <c:v>10690</c:v>
                </c:pt>
                <c:pt idx="102">
                  <c:v>10711</c:v>
                </c:pt>
                <c:pt idx="103">
                  <c:v>10729</c:v>
                </c:pt>
                <c:pt idx="104">
                  <c:v>10872</c:v>
                </c:pt>
                <c:pt idx="105">
                  <c:v>10945</c:v>
                </c:pt>
                <c:pt idx="106">
                  <c:v>11044</c:v>
                </c:pt>
                <c:pt idx="107">
                  <c:v>11100</c:v>
                </c:pt>
                <c:pt idx="108">
                  <c:v>11189</c:v>
                </c:pt>
                <c:pt idx="109">
                  <c:v>11222</c:v>
                </c:pt>
                <c:pt idx="110">
                  <c:v>11251</c:v>
                </c:pt>
                <c:pt idx="111">
                  <c:v>11421</c:v>
                </c:pt>
                <c:pt idx="112">
                  <c:v>11539</c:v>
                </c:pt>
                <c:pt idx="113">
                  <c:v>11668</c:v>
                </c:pt>
                <c:pt idx="114">
                  <c:v>11701</c:v>
                </c:pt>
                <c:pt idx="115">
                  <c:v>11752</c:v>
                </c:pt>
                <c:pt idx="116">
                  <c:v>11806</c:v>
                </c:pt>
                <c:pt idx="117">
                  <c:v>11855</c:v>
                </c:pt>
                <c:pt idx="118">
                  <c:v>12050</c:v>
                </c:pt>
                <c:pt idx="119">
                  <c:v>12197</c:v>
                </c:pt>
                <c:pt idx="120">
                  <c:v>12312</c:v>
                </c:pt>
                <c:pt idx="121">
                  <c:v>12408</c:v>
                </c:pt>
                <c:pt idx="122">
                  <c:v>12442</c:v>
                </c:pt>
                <c:pt idx="123">
                  <c:v>12509</c:v>
                </c:pt>
                <c:pt idx="124">
                  <c:v>12547</c:v>
                </c:pt>
                <c:pt idx="125">
                  <c:v>12857</c:v>
                </c:pt>
                <c:pt idx="126">
                  <c:v>13007</c:v>
                </c:pt>
                <c:pt idx="127">
                  <c:v>13130</c:v>
                </c:pt>
                <c:pt idx="128">
                  <c:v>13241</c:v>
                </c:pt>
                <c:pt idx="129">
                  <c:v>13376</c:v>
                </c:pt>
                <c:pt idx="130">
                  <c:v>13438</c:v>
                </c:pt>
                <c:pt idx="131">
                  <c:v>13465</c:v>
                </c:pt>
                <c:pt idx="132">
                  <c:v>13718</c:v>
                </c:pt>
                <c:pt idx="133">
                  <c:v>13819</c:v>
                </c:pt>
                <c:pt idx="134">
                  <c:v>13932</c:v>
                </c:pt>
                <c:pt idx="135">
                  <c:v>13992</c:v>
                </c:pt>
                <c:pt idx="136">
                  <c:v>14062</c:v>
                </c:pt>
                <c:pt idx="137">
                  <c:v>14099</c:v>
                </c:pt>
                <c:pt idx="138">
                  <c:v>14130</c:v>
                </c:pt>
                <c:pt idx="139">
                  <c:v>14264</c:v>
                </c:pt>
                <c:pt idx="140">
                  <c:v>14342</c:v>
                </c:pt>
                <c:pt idx="141">
                  <c:v>14416</c:v>
                </c:pt>
                <c:pt idx="142">
                  <c:v>14486</c:v>
                </c:pt>
                <c:pt idx="143">
                  <c:v>14569</c:v>
                </c:pt>
                <c:pt idx="144">
                  <c:v>14599</c:v>
                </c:pt>
                <c:pt idx="145">
                  <c:v>14613</c:v>
                </c:pt>
                <c:pt idx="146">
                  <c:v>14706</c:v>
                </c:pt>
                <c:pt idx="147">
                  <c:v>14785</c:v>
                </c:pt>
                <c:pt idx="148">
                  <c:v>14845</c:v>
                </c:pt>
                <c:pt idx="149">
                  <c:v>14882</c:v>
                </c:pt>
                <c:pt idx="150">
                  <c:v>14934</c:v>
                </c:pt>
                <c:pt idx="151">
                  <c:v>14965</c:v>
                </c:pt>
                <c:pt idx="152">
                  <c:v>14981</c:v>
                </c:pt>
                <c:pt idx="153">
                  <c:v>15065</c:v>
                </c:pt>
                <c:pt idx="154">
                  <c:v>15143</c:v>
                </c:pt>
                <c:pt idx="155">
                  <c:v>15204</c:v>
                </c:pt>
                <c:pt idx="156">
                  <c:v>15253</c:v>
                </c:pt>
                <c:pt idx="157">
                  <c:v>15308</c:v>
                </c:pt>
                <c:pt idx="158">
                  <c:v>15323</c:v>
                </c:pt>
                <c:pt idx="159">
                  <c:v>15341</c:v>
                </c:pt>
                <c:pt idx="160">
                  <c:v>15416</c:v>
                </c:pt>
                <c:pt idx="161">
                  <c:v>15439</c:v>
                </c:pt>
                <c:pt idx="162">
                  <c:v>15473</c:v>
                </c:pt>
                <c:pt idx="163">
                  <c:v>15515</c:v>
                </c:pt>
                <c:pt idx="164">
                  <c:v>15556</c:v>
                </c:pt>
                <c:pt idx="165">
                  <c:v>15571</c:v>
                </c:pt>
                <c:pt idx="166">
                  <c:v>15590</c:v>
                </c:pt>
                <c:pt idx="167">
                  <c:v>15659</c:v>
                </c:pt>
                <c:pt idx="168">
                  <c:v>15694</c:v>
                </c:pt>
                <c:pt idx="169">
                  <c:v>15733</c:v>
                </c:pt>
                <c:pt idx="170">
                  <c:v>15770</c:v>
                </c:pt>
                <c:pt idx="171">
                  <c:v>15814</c:v>
                </c:pt>
                <c:pt idx="172">
                  <c:v>15822</c:v>
                </c:pt>
                <c:pt idx="173">
                  <c:v>15845</c:v>
                </c:pt>
                <c:pt idx="174">
                  <c:v>15927</c:v>
                </c:pt>
                <c:pt idx="175">
                  <c:v>15977</c:v>
                </c:pt>
                <c:pt idx="176">
                  <c:v>16014</c:v>
                </c:pt>
                <c:pt idx="177">
                  <c:v>16050</c:v>
                </c:pt>
                <c:pt idx="178">
                  <c:v>16098</c:v>
                </c:pt>
                <c:pt idx="179">
                  <c:v>16110</c:v>
                </c:pt>
                <c:pt idx="180">
                  <c:v>16120</c:v>
                </c:pt>
                <c:pt idx="181">
                  <c:v>16187</c:v>
                </c:pt>
                <c:pt idx="182">
                  <c:v>16231</c:v>
                </c:pt>
                <c:pt idx="183">
                  <c:v>16289</c:v>
                </c:pt>
                <c:pt idx="184">
                  <c:v>16338</c:v>
                </c:pt>
                <c:pt idx="185">
                  <c:v>16376</c:v>
                </c:pt>
                <c:pt idx="186">
                  <c:v>16392</c:v>
                </c:pt>
                <c:pt idx="187">
                  <c:v>16406</c:v>
                </c:pt>
                <c:pt idx="188">
                  <c:v>16472</c:v>
                </c:pt>
                <c:pt idx="189">
                  <c:v>16514</c:v>
                </c:pt>
                <c:pt idx="190">
                  <c:v>16545</c:v>
                </c:pt>
                <c:pt idx="191">
                  <c:v>16575</c:v>
                </c:pt>
                <c:pt idx="192">
                  <c:v>16596</c:v>
                </c:pt>
                <c:pt idx="193">
                  <c:v>16608</c:v>
                </c:pt>
                <c:pt idx="194">
                  <c:v>16615</c:v>
                </c:pt>
                <c:pt idx="195">
                  <c:v>16657</c:v>
                </c:pt>
                <c:pt idx="196">
                  <c:v>16685</c:v>
                </c:pt>
                <c:pt idx="197">
                  <c:v>16712</c:v>
                </c:pt>
                <c:pt idx="198">
                  <c:v>16728</c:v>
                </c:pt>
                <c:pt idx="199">
                  <c:v>16753</c:v>
                </c:pt>
                <c:pt idx="200">
                  <c:v>16755</c:v>
                </c:pt>
                <c:pt idx="201">
                  <c:v>16760</c:v>
                </c:pt>
                <c:pt idx="202">
                  <c:v>16799</c:v>
                </c:pt>
                <c:pt idx="203">
                  <c:v>16818</c:v>
                </c:pt>
                <c:pt idx="204">
                  <c:v>16829</c:v>
                </c:pt>
                <c:pt idx="205">
                  <c:v>16840</c:v>
                </c:pt>
                <c:pt idx="206">
                  <c:v>16858</c:v>
                </c:pt>
                <c:pt idx="207">
                  <c:v>16861</c:v>
                </c:pt>
                <c:pt idx="208">
                  <c:v>16864</c:v>
                </c:pt>
                <c:pt idx="209">
                  <c:v>16889</c:v>
                </c:pt>
                <c:pt idx="210">
                  <c:v>16909</c:v>
                </c:pt>
                <c:pt idx="211">
                  <c:v>16924</c:v>
                </c:pt>
                <c:pt idx="212">
                  <c:v>16937</c:v>
                </c:pt>
                <c:pt idx="213">
                  <c:v>16942</c:v>
                </c:pt>
                <c:pt idx="214">
                  <c:v>16946</c:v>
                </c:pt>
                <c:pt idx="215">
                  <c:v>16948</c:v>
                </c:pt>
                <c:pt idx="216">
                  <c:v>16956</c:v>
                </c:pt>
                <c:pt idx="217">
                  <c:v>16978</c:v>
                </c:pt>
                <c:pt idx="218">
                  <c:v>16995</c:v>
                </c:pt>
                <c:pt idx="219">
                  <c:v>17013</c:v>
                </c:pt>
                <c:pt idx="220">
                  <c:v>17021</c:v>
                </c:pt>
                <c:pt idx="221">
                  <c:v>17027</c:v>
                </c:pt>
                <c:pt idx="222">
                  <c:v>17028</c:v>
                </c:pt>
                <c:pt idx="223">
                  <c:v>17037</c:v>
                </c:pt>
                <c:pt idx="224">
                  <c:v>17046</c:v>
                </c:pt>
                <c:pt idx="225">
                  <c:v>17051</c:v>
                </c:pt>
                <c:pt idx="226">
                  <c:v>17058</c:v>
                </c:pt>
                <c:pt idx="227">
                  <c:v>17065</c:v>
                </c:pt>
                <c:pt idx="228">
                  <c:v>17066</c:v>
                </c:pt>
                <c:pt idx="229">
                  <c:v>17067</c:v>
                </c:pt>
                <c:pt idx="230">
                  <c:v>17080</c:v>
                </c:pt>
                <c:pt idx="231">
                  <c:v>17087</c:v>
                </c:pt>
                <c:pt idx="232">
                  <c:v>17094</c:v>
                </c:pt>
                <c:pt idx="233">
                  <c:v>17097</c:v>
                </c:pt>
                <c:pt idx="234">
                  <c:v>17100</c:v>
                </c:pt>
                <c:pt idx="235">
                  <c:v>17101</c:v>
                </c:pt>
                <c:pt idx="236">
                  <c:v>17101</c:v>
                </c:pt>
                <c:pt idx="237">
                  <c:v>17110</c:v>
                </c:pt>
                <c:pt idx="238">
                  <c:v>17119</c:v>
                </c:pt>
                <c:pt idx="239">
                  <c:v>17123</c:v>
                </c:pt>
                <c:pt idx="240">
                  <c:v>17126</c:v>
                </c:pt>
                <c:pt idx="241">
                  <c:v>17132</c:v>
                </c:pt>
                <c:pt idx="242">
                  <c:v>17133</c:v>
                </c:pt>
                <c:pt idx="243">
                  <c:v>17135</c:v>
                </c:pt>
                <c:pt idx="244">
                  <c:v>17139</c:v>
                </c:pt>
                <c:pt idx="245">
                  <c:v>17142</c:v>
                </c:pt>
                <c:pt idx="246">
                  <c:v>17143</c:v>
                </c:pt>
                <c:pt idx="247">
                  <c:v>17148</c:v>
                </c:pt>
                <c:pt idx="248">
                  <c:v>17150</c:v>
                </c:pt>
                <c:pt idx="249">
                  <c:v>17152</c:v>
                </c:pt>
                <c:pt idx="250">
                  <c:v>17152</c:v>
                </c:pt>
                <c:pt idx="251">
                  <c:v>17155</c:v>
                </c:pt>
                <c:pt idx="252">
                  <c:v>17159</c:v>
                </c:pt>
                <c:pt idx="253">
                  <c:v>17159</c:v>
                </c:pt>
                <c:pt idx="254">
                  <c:v>17161</c:v>
                </c:pt>
                <c:pt idx="255">
                  <c:v>17162</c:v>
                </c:pt>
                <c:pt idx="256">
                  <c:v>17162</c:v>
                </c:pt>
                <c:pt idx="257">
                  <c:v>17162</c:v>
                </c:pt>
                <c:pt idx="258">
                  <c:v>17168</c:v>
                </c:pt>
                <c:pt idx="259">
                  <c:v>17173</c:v>
                </c:pt>
                <c:pt idx="260">
                  <c:v>17175</c:v>
                </c:pt>
                <c:pt idx="261">
                  <c:v>17179</c:v>
                </c:pt>
                <c:pt idx="262">
                  <c:v>17180</c:v>
                </c:pt>
                <c:pt idx="263">
                  <c:v>17180</c:v>
                </c:pt>
                <c:pt idx="264">
                  <c:v>17180</c:v>
                </c:pt>
                <c:pt idx="265">
                  <c:v>17182</c:v>
                </c:pt>
                <c:pt idx="266">
                  <c:v>17183</c:v>
                </c:pt>
                <c:pt idx="267">
                  <c:v>17184</c:v>
                </c:pt>
                <c:pt idx="268">
                  <c:v>17186</c:v>
                </c:pt>
                <c:pt idx="269">
                  <c:v>17186</c:v>
                </c:pt>
                <c:pt idx="270">
                  <c:v>17186</c:v>
                </c:pt>
                <c:pt idx="271">
                  <c:v>17186</c:v>
                </c:pt>
                <c:pt idx="272">
                  <c:v>17187</c:v>
                </c:pt>
                <c:pt idx="273">
                  <c:v>17187</c:v>
                </c:pt>
                <c:pt idx="274">
                  <c:v>17187</c:v>
                </c:pt>
                <c:pt idx="275">
                  <c:v>17189</c:v>
                </c:pt>
                <c:pt idx="276">
                  <c:v>17189</c:v>
                </c:pt>
                <c:pt idx="277">
                  <c:v>17189</c:v>
                </c:pt>
                <c:pt idx="278">
                  <c:v>17189</c:v>
                </c:pt>
                <c:pt idx="279">
                  <c:v>17189</c:v>
                </c:pt>
                <c:pt idx="280">
                  <c:v>17189</c:v>
                </c:pt>
                <c:pt idx="281">
                  <c:v>17189</c:v>
                </c:pt>
                <c:pt idx="282">
                  <c:v>17189</c:v>
                </c:pt>
                <c:pt idx="283">
                  <c:v>17189</c:v>
                </c:pt>
                <c:pt idx="284">
                  <c:v>17189</c:v>
                </c:pt>
                <c:pt idx="285">
                  <c:v>17189</c:v>
                </c:pt>
                <c:pt idx="286">
                  <c:v>17189</c:v>
                </c:pt>
                <c:pt idx="287">
                  <c:v>17189</c:v>
                </c:pt>
                <c:pt idx="288">
                  <c:v>17189</c:v>
                </c:pt>
                <c:pt idx="289">
                  <c:v>17189</c:v>
                </c:pt>
                <c:pt idx="290">
                  <c:v>17189</c:v>
                </c:pt>
                <c:pt idx="291">
                  <c:v>17189</c:v>
                </c:pt>
                <c:pt idx="292">
                  <c:v>17189</c:v>
                </c:pt>
                <c:pt idx="293">
                  <c:v>17189</c:v>
                </c:pt>
                <c:pt idx="294">
                  <c:v>17189</c:v>
                </c:pt>
                <c:pt idx="295">
                  <c:v>17189</c:v>
                </c:pt>
                <c:pt idx="296">
                  <c:v>17190</c:v>
                </c:pt>
                <c:pt idx="297">
                  <c:v>17191</c:v>
                </c:pt>
                <c:pt idx="298">
                  <c:v>17191</c:v>
                </c:pt>
                <c:pt idx="299">
                  <c:v>17191</c:v>
                </c:pt>
                <c:pt idx="300">
                  <c:v>17192</c:v>
                </c:pt>
                <c:pt idx="301">
                  <c:v>17192</c:v>
                </c:pt>
                <c:pt idx="302">
                  <c:v>17193</c:v>
                </c:pt>
                <c:pt idx="303">
                  <c:v>17193</c:v>
                </c:pt>
                <c:pt idx="304">
                  <c:v>17193</c:v>
                </c:pt>
                <c:pt idx="305">
                  <c:v>17193</c:v>
                </c:pt>
                <c:pt idx="306">
                  <c:v>17193</c:v>
                </c:pt>
                <c:pt idx="307">
                  <c:v>17193</c:v>
                </c:pt>
                <c:pt idx="308">
                  <c:v>17193</c:v>
                </c:pt>
                <c:pt idx="309">
                  <c:v>17194</c:v>
                </c:pt>
                <c:pt idx="310">
                  <c:v>17195</c:v>
                </c:pt>
                <c:pt idx="311">
                  <c:v>17195</c:v>
                </c:pt>
                <c:pt idx="312">
                  <c:v>17195</c:v>
                </c:pt>
                <c:pt idx="313">
                  <c:v>17196</c:v>
                </c:pt>
                <c:pt idx="314">
                  <c:v>17196</c:v>
                </c:pt>
                <c:pt idx="315">
                  <c:v>17196</c:v>
                </c:pt>
                <c:pt idx="316">
                  <c:v>17196</c:v>
                </c:pt>
                <c:pt idx="317">
                  <c:v>17196</c:v>
                </c:pt>
                <c:pt idx="318">
                  <c:v>17196</c:v>
                </c:pt>
                <c:pt idx="319">
                  <c:v>17196</c:v>
                </c:pt>
                <c:pt idx="320">
                  <c:v>17196</c:v>
                </c:pt>
                <c:pt idx="321">
                  <c:v>17196</c:v>
                </c:pt>
                <c:pt idx="322">
                  <c:v>17196</c:v>
                </c:pt>
                <c:pt idx="323">
                  <c:v>17197</c:v>
                </c:pt>
                <c:pt idx="324">
                  <c:v>17197</c:v>
                </c:pt>
                <c:pt idx="325">
                  <c:v>17197</c:v>
                </c:pt>
                <c:pt idx="326">
                  <c:v>17197</c:v>
                </c:pt>
                <c:pt idx="327">
                  <c:v>17197</c:v>
                </c:pt>
                <c:pt idx="328">
                  <c:v>17197</c:v>
                </c:pt>
                <c:pt idx="329">
                  <c:v>17198</c:v>
                </c:pt>
                <c:pt idx="330">
                  <c:v>17200</c:v>
                </c:pt>
                <c:pt idx="331">
                  <c:v>17200</c:v>
                </c:pt>
                <c:pt idx="332">
                  <c:v>17200</c:v>
                </c:pt>
                <c:pt idx="333">
                  <c:v>17200</c:v>
                </c:pt>
                <c:pt idx="334">
                  <c:v>17200</c:v>
                </c:pt>
                <c:pt idx="335">
                  <c:v>17200</c:v>
                </c:pt>
                <c:pt idx="336">
                  <c:v>17200</c:v>
                </c:pt>
                <c:pt idx="337">
                  <c:v>17200</c:v>
                </c:pt>
                <c:pt idx="338">
                  <c:v>17200</c:v>
                </c:pt>
                <c:pt idx="339">
                  <c:v>17200</c:v>
                </c:pt>
                <c:pt idx="340">
                  <c:v>17200</c:v>
                </c:pt>
                <c:pt idx="341">
                  <c:v>17201</c:v>
                </c:pt>
                <c:pt idx="342">
                  <c:v>17201</c:v>
                </c:pt>
                <c:pt idx="343">
                  <c:v>17201</c:v>
                </c:pt>
                <c:pt idx="344">
                  <c:v>17202</c:v>
                </c:pt>
                <c:pt idx="345">
                  <c:v>17202</c:v>
                </c:pt>
                <c:pt idx="346">
                  <c:v>17202</c:v>
                </c:pt>
                <c:pt idx="347">
                  <c:v>17202</c:v>
                </c:pt>
                <c:pt idx="348">
                  <c:v>17203</c:v>
                </c:pt>
                <c:pt idx="349">
                  <c:v>17203</c:v>
                </c:pt>
                <c:pt idx="350">
                  <c:v>17203</c:v>
                </c:pt>
                <c:pt idx="351">
                  <c:v>17203</c:v>
                </c:pt>
                <c:pt idx="352">
                  <c:v>17203</c:v>
                </c:pt>
                <c:pt idx="353">
                  <c:v>17203</c:v>
                </c:pt>
                <c:pt idx="354">
                  <c:v>17203</c:v>
                </c:pt>
                <c:pt idx="355">
                  <c:v>17203</c:v>
                </c:pt>
                <c:pt idx="356">
                  <c:v>17204</c:v>
                </c:pt>
                <c:pt idx="357">
                  <c:v>17204</c:v>
                </c:pt>
                <c:pt idx="358">
                  <c:v>17204</c:v>
                </c:pt>
                <c:pt idx="359">
                  <c:v>17205</c:v>
                </c:pt>
                <c:pt idx="360">
                  <c:v>17206</c:v>
                </c:pt>
                <c:pt idx="361">
                  <c:v>17207</c:v>
                </c:pt>
                <c:pt idx="362">
                  <c:v>17208</c:v>
                </c:pt>
                <c:pt idx="363">
                  <c:v>17208</c:v>
                </c:pt>
                <c:pt idx="364">
                  <c:v>17208</c:v>
                </c:pt>
                <c:pt idx="365">
                  <c:v>17213</c:v>
                </c:pt>
                <c:pt idx="366">
                  <c:v>17214</c:v>
                </c:pt>
                <c:pt idx="367">
                  <c:v>17215</c:v>
                </c:pt>
                <c:pt idx="368">
                  <c:v>17215</c:v>
                </c:pt>
                <c:pt idx="369">
                  <c:v>17215</c:v>
                </c:pt>
                <c:pt idx="370">
                  <c:v>17216</c:v>
                </c:pt>
                <c:pt idx="371">
                  <c:v>17218</c:v>
                </c:pt>
                <c:pt idx="372">
                  <c:v>17219</c:v>
                </c:pt>
                <c:pt idx="373">
                  <c:v>17220</c:v>
                </c:pt>
                <c:pt idx="374">
                  <c:v>17221</c:v>
                </c:pt>
                <c:pt idx="375">
                  <c:v>17221</c:v>
                </c:pt>
                <c:pt idx="376">
                  <c:v>17222</c:v>
                </c:pt>
                <c:pt idx="377">
                  <c:v>17222</c:v>
                </c:pt>
                <c:pt idx="378">
                  <c:v>17223</c:v>
                </c:pt>
                <c:pt idx="379">
                  <c:v>17223</c:v>
                </c:pt>
                <c:pt idx="380">
                  <c:v>17223</c:v>
                </c:pt>
                <c:pt idx="381">
                  <c:v>17223</c:v>
                </c:pt>
                <c:pt idx="382">
                  <c:v>17224</c:v>
                </c:pt>
                <c:pt idx="383">
                  <c:v>17224</c:v>
                </c:pt>
                <c:pt idx="384">
                  <c:v>17228</c:v>
                </c:pt>
                <c:pt idx="385">
                  <c:v>17232</c:v>
                </c:pt>
                <c:pt idx="386">
                  <c:v>17234</c:v>
                </c:pt>
                <c:pt idx="387">
                  <c:v>17234</c:v>
                </c:pt>
                <c:pt idx="388">
                  <c:v>17234</c:v>
                </c:pt>
                <c:pt idx="389">
                  <c:v>17235</c:v>
                </c:pt>
                <c:pt idx="390">
                  <c:v>17236</c:v>
                </c:pt>
                <c:pt idx="391">
                  <c:v>17240</c:v>
                </c:pt>
                <c:pt idx="392">
                  <c:v>17241</c:v>
                </c:pt>
                <c:pt idx="393">
                  <c:v>17247</c:v>
                </c:pt>
                <c:pt idx="394">
                  <c:v>17249</c:v>
                </c:pt>
                <c:pt idx="395">
                  <c:v>17251</c:v>
                </c:pt>
                <c:pt idx="396">
                  <c:v>17251</c:v>
                </c:pt>
                <c:pt idx="397">
                  <c:v>17251</c:v>
                </c:pt>
                <c:pt idx="398">
                  <c:v>17255</c:v>
                </c:pt>
                <c:pt idx="399">
                  <c:v>17260</c:v>
                </c:pt>
                <c:pt idx="400">
                  <c:v>17262</c:v>
                </c:pt>
                <c:pt idx="401">
                  <c:v>17263</c:v>
                </c:pt>
                <c:pt idx="402">
                  <c:v>17265</c:v>
                </c:pt>
                <c:pt idx="403">
                  <c:v>17266</c:v>
                </c:pt>
                <c:pt idx="404">
                  <c:v>17266</c:v>
                </c:pt>
                <c:pt idx="405">
                  <c:v>17268</c:v>
                </c:pt>
                <c:pt idx="406">
                  <c:v>17271</c:v>
                </c:pt>
                <c:pt idx="407">
                  <c:v>17272</c:v>
                </c:pt>
                <c:pt idx="408">
                  <c:v>17275</c:v>
                </c:pt>
                <c:pt idx="409">
                  <c:v>17282</c:v>
                </c:pt>
                <c:pt idx="410">
                  <c:v>17284</c:v>
                </c:pt>
                <c:pt idx="411">
                  <c:v>17285</c:v>
                </c:pt>
                <c:pt idx="412">
                  <c:v>17297</c:v>
                </c:pt>
                <c:pt idx="413">
                  <c:v>17305</c:v>
                </c:pt>
                <c:pt idx="414">
                  <c:v>17316</c:v>
                </c:pt>
                <c:pt idx="415">
                  <c:v>17323</c:v>
                </c:pt>
                <c:pt idx="416">
                  <c:v>17335</c:v>
                </c:pt>
                <c:pt idx="417">
                  <c:v>17335</c:v>
                </c:pt>
                <c:pt idx="418">
                  <c:v>17339</c:v>
                </c:pt>
                <c:pt idx="419">
                  <c:v>17359</c:v>
                </c:pt>
                <c:pt idx="420">
                  <c:v>17365</c:v>
                </c:pt>
                <c:pt idx="421">
                  <c:v>17383</c:v>
                </c:pt>
                <c:pt idx="422">
                  <c:v>17386</c:v>
                </c:pt>
                <c:pt idx="423">
                  <c:v>17394</c:v>
                </c:pt>
                <c:pt idx="424">
                  <c:v>17399</c:v>
                </c:pt>
                <c:pt idx="425">
                  <c:v>17403</c:v>
                </c:pt>
                <c:pt idx="426">
                  <c:v>17444</c:v>
                </c:pt>
                <c:pt idx="427">
                  <c:v>17470</c:v>
                </c:pt>
                <c:pt idx="428">
                  <c:v>17491</c:v>
                </c:pt>
                <c:pt idx="429">
                  <c:v>17516</c:v>
                </c:pt>
                <c:pt idx="430">
                  <c:v>17543</c:v>
                </c:pt>
                <c:pt idx="431">
                  <c:v>17556</c:v>
                </c:pt>
                <c:pt idx="432">
                  <c:v>17561</c:v>
                </c:pt>
                <c:pt idx="433">
                  <c:v>17616</c:v>
                </c:pt>
                <c:pt idx="434">
                  <c:v>17645</c:v>
                </c:pt>
                <c:pt idx="435">
                  <c:v>17676</c:v>
                </c:pt>
                <c:pt idx="436">
                  <c:v>17714</c:v>
                </c:pt>
                <c:pt idx="437">
                  <c:v>17749</c:v>
                </c:pt>
                <c:pt idx="438">
                  <c:v>17769</c:v>
                </c:pt>
                <c:pt idx="439">
                  <c:v>17783</c:v>
                </c:pt>
                <c:pt idx="440">
                  <c:v>17842</c:v>
                </c:pt>
                <c:pt idx="441">
                  <c:v>17877</c:v>
                </c:pt>
                <c:pt idx="442">
                  <c:v>17891</c:v>
                </c:pt>
                <c:pt idx="443">
                  <c:v>17934</c:v>
                </c:pt>
                <c:pt idx="444">
                  <c:v>17987</c:v>
                </c:pt>
                <c:pt idx="445">
                  <c:v>18000</c:v>
                </c:pt>
                <c:pt idx="446">
                  <c:v>18007</c:v>
                </c:pt>
                <c:pt idx="447">
                  <c:v>18081</c:v>
                </c:pt>
                <c:pt idx="448">
                  <c:v>18125</c:v>
                </c:pt>
                <c:pt idx="449">
                  <c:v>18174</c:v>
                </c:pt>
                <c:pt idx="450">
                  <c:v>18223</c:v>
                </c:pt>
                <c:pt idx="451">
                  <c:v>18274</c:v>
                </c:pt>
                <c:pt idx="452">
                  <c:v>18296</c:v>
                </c:pt>
                <c:pt idx="453">
                  <c:v>18303</c:v>
                </c:pt>
                <c:pt idx="454">
                  <c:v>18347</c:v>
                </c:pt>
                <c:pt idx="455">
                  <c:v>18396</c:v>
                </c:pt>
                <c:pt idx="456">
                  <c:v>18439</c:v>
                </c:pt>
                <c:pt idx="457">
                  <c:v>18472</c:v>
                </c:pt>
                <c:pt idx="458">
                  <c:v>18502</c:v>
                </c:pt>
                <c:pt idx="459">
                  <c:v>18523</c:v>
                </c:pt>
                <c:pt idx="460">
                  <c:v>18533</c:v>
                </c:pt>
                <c:pt idx="461">
                  <c:v>18583</c:v>
                </c:pt>
                <c:pt idx="462">
                  <c:v>18620</c:v>
                </c:pt>
                <c:pt idx="463">
                  <c:v>18655</c:v>
                </c:pt>
                <c:pt idx="464">
                  <c:v>18681</c:v>
                </c:pt>
                <c:pt idx="465">
                  <c:v>18701</c:v>
                </c:pt>
                <c:pt idx="466">
                  <c:v>18714</c:v>
                </c:pt>
                <c:pt idx="467">
                  <c:v>18723</c:v>
                </c:pt>
                <c:pt idx="468">
                  <c:v>18758</c:v>
                </c:pt>
                <c:pt idx="469">
                  <c:v>18795</c:v>
                </c:pt>
                <c:pt idx="470">
                  <c:v>18822</c:v>
                </c:pt>
                <c:pt idx="471">
                  <c:v>18840</c:v>
                </c:pt>
                <c:pt idx="472">
                  <c:v>18856</c:v>
                </c:pt>
                <c:pt idx="473">
                  <c:v>18864</c:v>
                </c:pt>
                <c:pt idx="474">
                  <c:v>18874</c:v>
                </c:pt>
                <c:pt idx="475">
                  <c:v>18902</c:v>
                </c:pt>
                <c:pt idx="476">
                  <c:v>18915</c:v>
                </c:pt>
                <c:pt idx="477">
                  <c:v>18925</c:v>
                </c:pt>
                <c:pt idx="478">
                  <c:v>18929</c:v>
                </c:pt>
                <c:pt idx="479">
                  <c:v>18936</c:v>
                </c:pt>
                <c:pt idx="480">
                  <c:v>18939</c:v>
                </c:pt>
                <c:pt idx="481">
                  <c:v>18944</c:v>
                </c:pt>
                <c:pt idx="482">
                  <c:v>18954</c:v>
                </c:pt>
                <c:pt idx="483">
                  <c:v>18971</c:v>
                </c:pt>
                <c:pt idx="484">
                  <c:v>18981</c:v>
                </c:pt>
                <c:pt idx="485">
                  <c:v>18991</c:v>
                </c:pt>
                <c:pt idx="486">
                  <c:v>18997</c:v>
                </c:pt>
                <c:pt idx="487">
                  <c:v>18998</c:v>
                </c:pt>
                <c:pt idx="488">
                  <c:v>19002</c:v>
                </c:pt>
                <c:pt idx="489">
                  <c:v>19023</c:v>
                </c:pt>
                <c:pt idx="490">
                  <c:v>19037</c:v>
                </c:pt>
                <c:pt idx="491">
                  <c:v>19042</c:v>
                </c:pt>
                <c:pt idx="492">
                  <c:v>19051</c:v>
                </c:pt>
                <c:pt idx="493">
                  <c:v>19062</c:v>
                </c:pt>
                <c:pt idx="494">
                  <c:v>19065</c:v>
                </c:pt>
                <c:pt idx="495">
                  <c:v>19068</c:v>
                </c:pt>
                <c:pt idx="496">
                  <c:v>19086</c:v>
                </c:pt>
                <c:pt idx="497">
                  <c:v>19097</c:v>
                </c:pt>
                <c:pt idx="498">
                  <c:v>19106</c:v>
                </c:pt>
                <c:pt idx="499">
                  <c:v>19119</c:v>
                </c:pt>
                <c:pt idx="500">
                  <c:v>19132</c:v>
                </c:pt>
                <c:pt idx="501">
                  <c:v>19138</c:v>
                </c:pt>
                <c:pt idx="502">
                  <c:v>19149</c:v>
                </c:pt>
                <c:pt idx="503">
                  <c:v>19196</c:v>
                </c:pt>
                <c:pt idx="504">
                  <c:v>19232</c:v>
                </c:pt>
                <c:pt idx="505">
                  <c:v>19276</c:v>
                </c:pt>
                <c:pt idx="506">
                  <c:v>19324</c:v>
                </c:pt>
                <c:pt idx="507">
                  <c:v>19393</c:v>
                </c:pt>
                <c:pt idx="508">
                  <c:v>19413</c:v>
                </c:pt>
                <c:pt idx="509">
                  <c:v>19429</c:v>
                </c:pt>
                <c:pt idx="510">
                  <c:v>19525</c:v>
                </c:pt>
                <c:pt idx="511">
                  <c:v>19630</c:v>
                </c:pt>
                <c:pt idx="512">
                  <c:v>19730</c:v>
                </c:pt>
                <c:pt idx="513">
                  <c:v>19790</c:v>
                </c:pt>
                <c:pt idx="514">
                  <c:v>19862</c:v>
                </c:pt>
                <c:pt idx="515">
                  <c:v>19892</c:v>
                </c:pt>
                <c:pt idx="516">
                  <c:v>19923</c:v>
                </c:pt>
                <c:pt idx="517">
                  <c:v>20040</c:v>
                </c:pt>
                <c:pt idx="518">
                  <c:v>20158</c:v>
                </c:pt>
                <c:pt idx="519">
                  <c:v>20240</c:v>
                </c:pt>
                <c:pt idx="520">
                  <c:v>20311</c:v>
                </c:pt>
                <c:pt idx="521">
                  <c:v>20395</c:v>
                </c:pt>
                <c:pt idx="522">
                  <c:v>20427</c:v>
                </c:pt>
                <c:pt idx="523">
                  <c:v>20452</c:v>
                </c:pt>
                <c:pt idx="524">
                  <c:v>20585</c:v>
                </c:pt>
                <c:pt idx="525">
                  <c:v>20676</c:v>
                </c:pt>
                <c:pt idx="526">
                  <c:v>20740</c:v>
                </c:pt>
                <c:pt idx="527">
                  <c:v>20810</c:v>
                </c:pt>
                <c:pt idx="528">
                  <c:v>20861</c:v>
                </c:pt>
                <c:pt idx="529">
                  <c:v>20883</c:v>
                </c:pt>
                <c:pt idx="530">
                  <c:v>20910</c:v>
                </c:pt>
                <c:pt idx="531">
                  <c:v>21000</c:v>
                </c:pt>
                <c:pt idx="532">
                  <c:v>21075</c:v>
                </c:pt>
                <c:pt idx="533">
                  <c:v>21144</c:v>
                </c:pt>
                <c:pt idx="534">
                  <c:v>21185</c:v>
                </c:pt>
                <c:pt idx="535">
                  <c:v>21215</c:v>
                </c:pt>
                <c:pt idx="536">
                  <c:v>21239</c:v>
                </c:pt>
                <c:pt idx="537">
                  <c:v>21250</c:v>
                </c:pt>
                <c:pt idx="538">
                  <c:v>21317</c:v>
                </c:pt>
                <c:pt idx="539">
                  <c:v>21356</c:v>
                </c:pt>
                <c:pt idx="540">
                  <c:v>21396</c:v>
                </c:pt>
                <c:pt idx="541">
                  <c:v>21430</c:v>
                </c:pt>
                <c:pt idx="542">
                  <c:v>21456</c:v>
                </c:pt>
                <c:pt idx="543">
                  <c:v>21467</c:v>
                </c:pt>
                <c:pt idx="544">
                  <c:v>21479</c:v>
                </c:pt>
                <c:pt idx="545">
                  <c:v>21522</c:v>
                </c:pt>
                <c:pt idx="546">
                  <c:v>21554</c:v>
                </c:pt>
                <c:pt idx="547">
                  <c:v>21579</c:v>
                </c:pt>
                <c:pt idx="548">
                  <c:v>21600</c:v>
                </c:pt>
                <c:pt idx="549">
                  <c:v>21616</c:v>
                </c:pt>
                <c:pt idx="550">
                  <c:v>21628</c:v>
                </c:pt>
                <c:pt idx="551">
                  <c:v>21633</c:v>
                </c:pt>
                <c:pt idx="552">
                  <c:v>21679</c:v>
                </c:pt>
                <c:pt idx="553">
                  <c:v>21708</c:v>
                </c:pt>
                <c:pt idx="554">
                  <c:v>21738</c:v>
                </c:pt>
                <c:pt idx="555">
                  <c:v>21754</c:v>
                </c:pt>
                <c:pt idx="556">
                  <c:v>21783</c:v>
                </c:pt>
                <c:pt idx="557">
                  <c:v>21789</c:v>
                </c:pt>
                <c:pt idx="558">
                  <c:v>21797</c:v>
                </c:pt>
                <c:pt idx="559">
                  <c:v>21840</c:v>
                </c:pt>
                <c:pt idx="560">
                  <c:v>21865</c:v>
                </c:pt>
                <c:pt idx="561">
                  <c:v>21886</c:v>
                </c:pt>
                <c:pt idx="562">
                  <c:v>21906</c:v>
                </c:pt>
                <c:pt idx="563">
                  <c:v>21934</c:v>
                </c:pt>
                <c:pt idx="564">
                  <c:v>21938</c:v>
                </c:pt>
                <c:pt idx="565">
                  <c:v>21942</c:v>
                </c:pt>
                <c:pt idx="566">
                  <c:v>21984</c:v>
                </c:pt>
                <c:pt idx="567">
                  <c:v>22032</c:v>
                </c:pt>
                <c:pt idx="568">
                  <c:v>22053</c:v>
                </c:pt>
                <c:pt idx="569">
                  <c:v>22067</c:v>
                </c:pt>
                <c:pt idx="570">
                  <c:v>22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D$2:$D$572</c:f>
              <c:numCache>
                <c:formatCode>General</c:formatCode>
                <c:ptCount val="571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25</c:v>
                </c:pt>
                <c:pt idx="12">
                  <c:v>26</c:v>
                </c:pt>
                <c:pt idx="13">
                  <c:v>39</c:v>
                </c:pt>
                <c:pt idx="14">
                  <c:v>41</c:v>
                </c:pt>
                <c:pt idx="15">
                  <c:v>43</c:v>
                </c:pt>
                <c:pt idx="16">
                  <c:v>45</c:v>
                </c:pt>
                <c:pt idx="17">
                  <c:v>49</c:v>
                </c:pt>
                <c:pt idx="18">
                  <c:v>52</c:v>
                </c:pt>
                <c:pt idx="19">
                  <c:v>60</c:v>
                </c:pt>
                <c:pt idx="20">
                  <c:v>67</c:v>
                </c:pt>
                <c:pt idx="21">
                  <c:v>75</c:v>
                </c:pt>
                <c:pt idx="22">
                  <c:v>77</c:v>
                </c:pt>
                <c:pt idx="23">
                  <c:v>84</c:v>
                </c:pt>
                <c:pt idx="24">
                  <c:v>97</c:v>
                </c:pt>
                <c:pt idx="25">
                  <c:v>109</c:v>
                </c:pt>
                <c:pt idx="26">
                  <c:v>118</c:v>
                </c:pt>
                <c:pt idx="27">
                  <c:v>127</c:v>
                </c:pt>
                <c:pt idx="28">
                  <c:v>158</c:v>
                </c:pt>
                <c:pt idx="29">
                  <c:v>196</c:v>
                </c:pt>
                <c:pt idx="30">
                  <c:v>257</c:v>
                </c:pt>
                <c:pt idx="31">
                  <c:v>418</c:v>
                </c:pt>
                <c:pt idx="32">
                  <c:v>487</c:v>
                </c:pt>
                <c:pt idx="33">
                  <c:v>576</c:v>
                </c:pt>
                <c:pt idx="34">
                  <c:v>851</c:v>
                </c:pt>
                <c:pt idx="35">
                  <c:v>985</c:v>
                </c:pt>
                <c:pt idx="36">
                  <c:v>1074</c:v>
                </c:pt>
                <c:pt idx="37">
                  <c:v>1242</c:v>
                </c:pt>
                <c:pt idx="38">
                  <c:v>1475</c:v>
                </c:pt>
                <c:pt idx="39">
                  <c:v>1556</c:v>
                </c:pt>
                <c:pt idx="40">
                  <c:v>1595</c:v>
                </c:pt>
                <c:pt idx="41">
                  <c:v>1912</c:v>
                </c:pt>
                <c:pt idx="42">
                  <c:v>2300</c:v>
                </c:pt>
                <c:pt idx="43">
                  <c:v>2681</c:v>
                </c:pt>
                <c:pt idx="44">
                  <c:v>3096</c:v>
                </c:pt>
                <c:pt idx="45">
                  <c:v>3519</c:v>
                </c:pt>
                <c:pt idx="46">
                  <c:v>3784</c:v>
                </c:pt>
                <c:pt idx="47">
                  <c:v>3876</c:v>
                </c:pt>
                <c:pt idx="48">
                  <c:v>4330</c:v>
                </c:pt>
                <c:pt idx="49">
                  <c:v>4738</c:v>
                </c:pt>
                <c:pt idx="50">
                  <c:v>5341</c:v>
                </c:pt>
                <c:pt idx="51">
                  <c:v>5821</c:v>
                </c:pt>
                <c:pt idx="52">
                  <c:v>6595</c:v>
                </c:pt>
                <c:pt idx="53">
                  <c:v>7016</c:v>
                </c:pt>
                <c:pt idx="54">
                  <c:v>7308</c:v>
                </c:pt>
                <c:pt idx="55">
                  <c:v>8090</c:v>
                </c:pt>
                <c:pt idx="56">
                  <c:v>9050</c:v>
                </c:pt>
                <c:pt idx="57">
                  <c:v>9455</c:v>
                </c:pt>
                <c:pt idx="58">
                  <c:v>10491</c:v>
                </c:pt>
                <c:pt idx="59">
                  <c:v>11428</c:v>
                </c:pt>
                <c:pt idx="60">
                  <c:v>11954</c:v>
                </c:pt>
                <c:pt idx="61">
                  <c:v>12292</c:v>
                </c:pt>
                <c:pt idx="62">
                  <c:v>12949</c:v>
                </c:pt>
                <c:pt idx="63">
                  <c:v>13547</c:v>
                </c:pt>
                <c:pt idx="64">
                  <c:v>14320</c:v>
                </c:pt>
                <c:pt idx="65">
                  <c:v>15158</c:v>
                </c:pt>
                <c:pt idx="66">
                  <c:v>15908</c:v>
                </c:pt>
                <c:pt idx="67">
                  <c:v>16247</c:v>
                </c:pt>
                <c:pt idx="68">
                  <c:v>16381</c:v>
                </c:pt>
                <c:pt idx="69">
                  <c:v>16800</c:v>
                </c:pt>
                <c:pt idx="70">
                  <c:v>17401</c:v>
                </c:pt>
                <c:pt idx="71">
                  <c:v>18364</c:v>
                </c:pt>
                <c:pt idx="72">
                  <c:v>19119</c:v>
                </c:pt>
                <c:pt idx="73">
                  <c:v>19816</c:v>
                </c:pt>
                <c:pt idx="74">
                  <c:v>20080</c:v>
                </c:pt>
                <c:pt idx="75">
                  <c:v>20284</c:v>
                </c:pt>
                <c:pt idx="76">
                  <c:v>20880</c:v>
                </c:pt>
                <c:pt idx="77">
                  <c:v>21073</c:v>
                </c:pt>
                <c:pt idx="78">
                  <c:v>21516</c:v>
                </c:pt>
                <c:pt idx="79">
                  <c:v>21931</c:v>
                </c:pt>
                <c:pt idx="80">
                  <c:v>22306</c:v>
                </c:pt>
                <c:pt idx="81">
                  <c:v>22443</c:v>
                </c:pt>
                <c:pt idx="82">
                  <c:v>22556</c:v>
                </c:pt>
                <c:pt idx="83">
                  <c:v>23095</c:v>
                </c:pt>
                <c:pt idx="84">
                  <c:v>23409</c:v>
                </c:pt>
                <c:pt idx="85">
                  <c:v>23638</c:v>
                </c:pt>
                <c:pt idx="86">
                  <c:v>23899</c:v>
                </c:pt>
                <c:pt idx="87">
                  <c:v>24123</c:v>
                </c:pt>
                <c:pt idx="88">
                  <c:v>24225</c:v>
                </c:pt>
                <c:pt idx="89">
                  <c:v>24270</c:v>
                </c:pt>
                <c:pt idx="90">
                  <c:v>24600</c:v>
                </c:pt>
                <c:pt idx="91">
                  <c:v>24819</c:v>
                </c:pt>
                <c:pt idx="92">
                  <c:v>25031</c:v>
                </c:pt>
                <c:pt idx="93">
                  <c:v>25228</c:v>
                </c:pt>
                <c:pt idx="94">
                  <c:v>25472</c:v>
                </c:pt>
                <c:pt idx="95">
                  <c:v>25603</c:v>
                </c:pt>
                <c:pt idx="96">
                  <c:v>25654</c:v>
                </c:pt>
                <c:pt idx="97">
                  <c:v>25923</c:v>
                </c:pt>
                <c:pt idx="98">
                  <c:v>26095</c:v>
                </c:pt>
                <c:pt idx="99">
                  <c:v>26303</c:v>
                </c:pt>
                <c:pt idx="100">
                  <c:v>26451</c:v>
                </c:pt>
                <c:pt idx="101">
                  <c:v>26771</c:v>
                </c:pt>
                <c:pt idx="102">
                  <c:v>26859</c:v>
                </c:pt>
                <c:pt idx="103">
                  <c:v>26928</c:v>
                </c:pt>
                <c:pt idx="104">
                  <c:v>27221</c:v>
                </c:pt>
                <c:pt idx="105">
                  <c:v>27428</c:v>
                </c:pt>
                <c:pt idx="106">
                  <c:v>27627</c:v>
                </c:pt>
                <c:pt idx="107">
                  <c:v>27753</c:v>
                </c:pt>
                <c:pt idx="108">
                  <c:v>28066</c:v>
                </c:pt>
                <c:pt idx="109">
                  <c:v>28160</c:v>
                </c:pt>
                <c:pt idx="110">
                  <c:v>28211</c:v>
                </c:pt>
                <c:pt idx="111">
                  <c:v>28561</c:v>
                </c:pt>
                <c:pt idx="112">
                  <c:v>28857</c:v>
                </c:pt>
                <c:pt idx="113">
                  <c:v>29110</c:v>
                </c:pt>
                <c:pt idx="114">
                  <c:v>29162</c:v>
                </c:pt>
                <c:pt idx="115">
                  <c:v>29286</c:v>
                </c:pt>
                <c:pt idx="116">
                  <c:v>29420</c:v>
                </c:pt>
                <c:pt idx="117">
                  <c:v>29567</c:v>
                </c:pt>
                <c:pt idx="118">
                  <c:v>29928</c:v>
                </c:pt>
                <c:pt idx="119">
                  <c:v>30260</c:v>
                </c:pt>
                <c:pt idx="120">
                  <c:v>30523</c:v>
                </c:pt>
                <c:pt idx="121">
                  <c:v>30756</c:v>
                </c:pt>
                <c:pt idx="122">
                  <c:v>30857</c:v>
                </c:pt>
                <c:pt idx="123">
                  <c:v>30986</c:v>
                </c:pt>
                <c:pt idx="124">
                  <c:v>31067</c:v>
                </c:pt>
                <c:pt idx="125">
                  <c:v>31648</c:v>
                </c:pt>
                <c:pt idx="126">
                  <c:v>31954</c:v>
                </c:pt>
                <c:pt idx="127">
                  <c:v>32241</c:v>
                </c:pt>
                <c:pt idx="128">
                  <c:v>32588</c:v>
                </c:pt>
                <c:pt idx="129">
                  <c:v>32913</c:v>
                </c:pt>
                <c:pt idx="130">
                  <c:v>33041</c:v>
                </c:pt>
                <c:pt idx="131">
                  <c:v>33105</c:v>
                </c:pt>
                <c:pt idx="132">
                  <c:v>33603</c:v>
                </c:pt>
                <c:pt idx="133">
                  <c:v>33834</c:v>
                </c:pt>
                <c:pt idx="134">
                  <c:v>34122</c:v>
                </c:pt>
                <c:pt idx="135">
                  <c:v>34281</c:v>
                </c:pt>
                <c:pt idx="136">
                  <c:v>34443</c:v>
                </c:pt>
                <c:pt idx="137">
                  <c:v>34516</c:v>
                </c:pt>
                <c:pt idx="138">
                  <c:v>34596</c:v>
                </c:pt>
                <c:pt idx="139">
                  <c:v>34897</c:v>
                </c:pt>
                <c:pt idx="140">
                  <c:v>35059</c:v>
                </c:pt>
                <c:pt idx="141">
                  <c:v>35280</c:v>
                </c:pt>
                <c:pt idx="142">
                  <c:v>35458</c:v>
                </c:pt>
                <c:pt idx="143">
                  <c:v>35660</c:v>
                </c:pt>
                <c:pt idx="144">
                  <c:v>35744</c:v>
                </c:pt>
                <c:pt idx="145">
                  <c:v>35784</c:v>
                </c:pt>
                <c:pt idx="146">
                  <c:v>35965</c:v>
                </c:pt>
                <c:pt idx="147">
                  <c:v>36087</c:v>
                </c:pt>
                <c:pt idx="148">
                  <c:v>36243</c:v>
                </c:pt>
                <c:pt idx="149">
                  <c:v>36348</c:v>
                </c:pt>
                <c:pt idx="150">
                  <c:v>36438</c:v>
                </c:pt>
                <c:pt idx="151">
                  <c:v>36518</c:v>
                </c:pt>
                <c:pt idx="152">
                  <c:v>36544</c:v>
                </c:pt>
                <c:pt idx="153">
                  <c:v>36736</c:v>
                </c:pt>
                <c:pt idx="154">
                  <c:v>36912</c:v>
                </c:pt>
                <c:pt idx="155">
                  <c:v>37076</c:v>
                </c:pt>
                <c:pt idx="156">
                  <c:v>37211</c:v>
                </c:pt>
                <c:pt idx="157">
                  <c:v>37352</c:v>
                </c:pt>
                <c:pt idx="158">
                  <c:v>37411</c:v>
                </c:pt>
                <c:pt idx="159">
                  <c:v>37446</c:v>
                </c:pt>
                <c:pt idx="160">
                  <c:v>37587</c:v>
                </c:pt>
                <c:pt idx="161">
                  <c:v>37677</c:v>
                </c:pt>
                <c:pt idx="162">
                  <c:v>37779</c:v>
                </c:pt>
                <c:pt idx="163">
                  <c:v>37891</c:v>
                </c:pt>
                <c:pt idx="164">
                  <c:v>37984</c:v>
                </c:pt>
                <c:pt idx="165">
                  <c:v>38008</c:v>
                </c:pt>
                <c:pt idx="166">
                  <c:v>38041</c:v>
                </c:pt>
                <c:pt idx="167">
                  <c:v>38148</c:v>
                </c:pt>
                <c:pt idx="168">
                  <c:v>38202</c:v>
                </c:pt>
                <c:pt idx="169">
                  <c:v>38271</c:v>
                </c:pt>
                <c:pt idx="170">
                  <c:v>38339</c:v>
                </c:pt>
                <c:pt idx="171">
                  <c:v>38412</c:v>
                </c:pt>
                <c:pt idx="172">
                  <c:v>38439</c:v>
                </c:pt>
                <c:pt idx="173">
                  <c:v>38470</c:v>
                </c:pt>
                <c:pt idx="174">
                  <c:v>38644</c:v>
                </c:pt>
                <c:pt idx="175">
                  <c:v>38731</c:v>
                </c:pt>
                <c:pt idx="176">
                  <c:v>38804</c:v>
                </c:pt>
                <c:pt idx="177">
                  <c:v>38886</c:v>
                </c:pt>
                <c:pt idx="178">
                  <c:v>38983</c:v>
                </c:pt>
                <c:pt idx="179">
                  <c:v>39006</c:v>
                </c:pt>
                <c:pt idx="180">
                  <c:v>39019</c:v>
                </c:pt>
                <c:pt idx="181">
                  <c:v>39165</c:v>
                </c:pt>
                <c:pt idx="182">
                  <c:v>39238</c:v>
                </c:pt>
                <c:pt idx="183">
                  <c:v>39340</c:v>
                </c:pt>
                <c:pt idx="184">
                  <c:v>39400</c:v>
                </c:pt>
                <c:pt idx="185">
                  <c:v>39464</c:v>
                </c:pt>
                <c:pt idx="186">
                  <c:v>39485</c:v>
                </c:pt>
                <c:pt idx="187">
                  <c:v>39505</c:v>
                </c:pt>
                <c:pt idx="188">
                  <c:v>39599</c:v>
                </c:pt>
                <c:pt idx="189">
                  <c:v>39756</c:v>
                </c:pt>
                <c:pt idx="190">
                  <c:v>39861</c:v>
                </c:pt>
                <c:pt idx="191">
                  <c:v>39906</c:v>
                </c:pt>
                <c:pt idx="192">
                  <c:v>39961</c:v>
                </c:pt>
                <c:pt idx="193">
                  <c:v>39982</c:v>
                </c:pt>
                <c:pt idx="194">
                  <c:v>39996</c:v>
                </c:pt>
                <c:pt idx="195">
                  <c:v>40070</c:v>
                </c:pt>
                <c:pt idx="196">
                  <c:v>40120</c:v>
                </c:pt>
                <c:pt idx="197">
                  <c:v>40159</c:v>
                </c:pt>
                <c:pt idx="198">
                  <c:v>40212</c:v>
                </c:pt>
                <c:pt idx="199">
                  <c:v>40256</c:v>
                </c:pt>
                <c:pt idx="200">
                  <c:v>40268</c:v>
                </c:pt>
                <c:pt idx="201">
                  <c:v>40277</c:v>
                </c:pt>
                <c:pt idx="202">
                  <c:v>40329</c:v>
                </c:pt>
                <c:pt idx="203">
                  <c:v>40379</c:v>
                </c:pt>
                <c:pt idx="204">
                  <c:v>40413</c:v>
                </c:pt>
                <c:pt idx="205">
                  <c:v>40456</c:v>
                </c:pt>
                <c:pt idx="206">
                  <c:v>40481</c:v>
                </c:pt>
                <c:pt idx="207">
                  <c:v>40487</c:v>
                </c:pt>
                <c:pt idx="208">
                  <c:v>40494</c:v>
                </c:pt>
                <c:pt idx="209">
                  <c:v>40541</c:v>
                </c:pt>
                <c:pt idx="210">
                  <c:v>40574</c:v>
                </c:pt>
                <c:pt idx="211">
                  <c:v>40600</c:v>
                </c:pt>
                <c:pt idx="212">
                  <c:v>40624</c:v>
                </c:pt>
                <c:pt idx="213">
                  <c:v>40633</c:v>
                </c:pt>
                <c:pt idx="214">
                  <c:v>40641</c:v>
                </c:pt>
                <c:pt idx="215">
                  <c:v>40645</c:v>
                </c:pt>
                <c:pt idx="216">
                  <c:v>40654</c:v>
                </c:pt>
                <c:pt idx="217">
                  <c:v>40682</c:v>
                </c:pt>
                <c:pt idx="218">
                  <c:v>40718</c:v>
                </c:pt>
                <c:pt idx="219">
                  <c:v>40738</c:v>
                </c:pt>
                <c:pt idx="220">
                  <c:v>40749</c:v>
                </c:pt>
                <c:pt idx="221">
                  <c:v>40756</c:v>
                </c:pt>
                <c:pt idx="222">
                  <c:v>40757</c:v>
                </c:pt>
                <c:pt idx="223">
                  <c:v>40768</c:v>
                </c:pt>
                <c:pt idx="224">
                  <c:v>40781</c:v>
                </c:pt>
                <c:pt idx="225">
                  <c:v>40790</c:v>
                </c:pt>
                <c:pt idx="226">
                  <c:v>40801</c:v>
                </c:pt>
                <c:pt idx="227">
                  <c:v>40810</c:v>
                </c:pt>
                <c:pt idx="228">
                  <c:v>40812</c:v>
                </c:pt>
                <c:pt idx="229">
                  <c:v>40815</c:v>
                </c:pt>
                <c:pt idx="230">
                  <c:v>40836</c:v>
                </c:pt>
                <c:pt idx="231">
                  <c:v>40848</c:v>
                </c:pt>
                <c:pt idx="232">
                  <c:v>40858</c:v>
                </c:pt>
                <c:pt idx="233">
                  <c:v>40880</c:v>
                </c:pt>
                <c:pt idx="234">
                  <c:v>40891</c:v>
                </c:pt>
                <c:pt idx="235">
                  <c:v>40893</c:v>
                </c:pt>
                <c:pt idx="236">
                  <c:v>40893</c:v>
                </c:pt>
                <c:pt idx="237">
                  <c:v>40904</c:v>
                </c:pt>
                <c:pt idx="238">
                  <c:v>40917</c:v>
                </c:pt>
                <c:pt idx="239">
                  <c:v>40922</c:v>
                </c:pt>
                <c:pt idx="240">
                  <c:v>40927</c:v>
                </c:pt>
                <c:pt idx="241">
                  <c:v>40934</c:v>
                </c:pt>
                <c:pt idx="242">
                  <c:v>40935</c:v>
                </c:pt>
                <c:pt idx="243">
                  <c:v>40937</c:v>
                </c:pt>
                <c:pt idx="244">
                  <c:v>40943</c:v>
                </c:pt>
                <c:pt idx="245">
                  <c:v>40946</c:v>
                </c:pt>
                <c:pt idx="246">
                  <c:v>40950</c:v>
                </c:pt>
                <c:pt idx="247">
                  <c:v>40956</c:v>
                </c:pt>
                <c:pt idx="248">
                  <c:v>40960</c:v>
                </c:pt>
                <c:pt idx="249">
                  <c:v>40962</c:v>
                </c:pt>
                <c:pt idx="250">
                  <c:v>40965</c:v>
                </c:pt>
                <c:pt idx="251">
                  <c:v>40973</c:v>
                </c:pt>
                <c:pt idx="252">
                  <c:v>40979</c:v>
                </c:pt>
                <c:pt idx="253">
                  <c:v>40979</c:v>
                </c:pt>
                <c:pt idx="254">
                  <c:v>40984</c:v>
                </c:pt>
                <c:pt idx="255">
                  <c:v>40990</c:v>
                </c:pt>
                <c:pt idx="256">
                  <c:v>40991</c:v>
                </c:pt>
                <c:pt idx="257">
                  <c:v>40991</c:v>
                </c:pt>
                <c:pt idx="258">
                  <c:v>41000</c:v>
                </c:pt>
                <c:pt idx="259">
                  <c:v>41005</c:v>
                </c:pt>
                <c:pt idx="260">
                  <c:v>41009</c:v>
                </c:pt>
                <c:pt idx="261">
                  <c:v>41013</c:v>
                </c:pt>
                <c:pt idx="262">
                  <c:v>41014</c:v>
                </c:pt>
                <c:pt idx="263">
                  <c:v>41014</c:v>
                </c:pt>
                <c:pt idx="264">
                  <c:v>41014</c:v>
                </c:pt>
                <c:pt idx="265">
                  <c:v>41018</c:v>
                </c:pt>
                <c:pt idx="266">
                  <c:v>41019</c:v>
                </c:pt>
                <c:pt idx="267">
                  <c:v>41020</c:v>
                </c:pt>
                <c:pt idx="268">
                  <c:v>41022</c:v>
                </c:pt>
                <c:pt idx="269">
                  <c:v>41022</c:v>
                </c:pt>
                <c:pt idx="270">
                  <c:v>41022</c:v>
                </c:pt>
                <c:pt idx="271">
                  <c:v>41022</c:v>
                </c:pt>
                <c:pt idx="272">
                  <c:v>41024</c:v>
                </c:pt>
                <c:pt idx="273">
                  <c:v>41024</c:v>
                </c:pt>
                <c:pt idx="274">
                  <c:v>41027</c:v>
                </c:pt>
                <c:pt idx="275">
                  <c:v>41030</c:v>
                </c:pt>
                <c:pt idx="276">
                  <c:v>41030</c:v>
                </c:pt>
                <c:pt idx="277">
                  <c:v>41030</c:v>
                </c:pt>
                <c:pt idx="278">
                  <c:v>41030</c:v>
                </c:pt>
                <c:pt idx="279">
                  <c:v>41031</c:v>
                </c:pt>
                <c:pt idx="280">
                  <c:v>41031</c:v>
                </c:pt>
                <c:pt idx="281">
                  <c:v>41031</c:v>
                </c:pt>
                <c:pt idx="282">
                  <c:v>41031</c:v>
                </c:pt>
                <c:pt idx="283">
                  <c:v>41032</c:v>
                </c:pt>
                <c:pt idx="284">
                  <c:v>41033</c:v>
                </c:pt>
                <c:pt idx="285">
                  <c:v>41033</c:v>
                </c:pt>
                <c:pt idx="286">
                  <c:v>41033</c:v>
                </c:pt>
                <c:pt idx="287">
                  <c:v>41033</c:v>
                </c:pt>
                <c:pt idx="288">
                  <c:v>41033</c:v>
                </c:pt>
                <c:pt idx="289">
                  <c:v>41034</c:v>
                </c:pt>
                <c:pt idx="290">
                  <c:v>41034</c:v>
                </c:pt>
                <c:pt idx="291">
                  <c:v>41034</c:v>
                </c:pt>
                <c:pt idx="292">
                  <c:v>41034</c:v>
                </c:pt>
                <c:pt idx="293">
                  <c:v>41034</c:v>
                </c:pt>
                <c:pt idx="294">
                  <c:v>41034</c:v>
                </c:pt>
                <c:pt idx="295">
                  <c:v>41035</c:v>
                </c:pt>
                <c:pt idx="296">
                  <c:v>41037</c:v>
                </c:pt>
                <c:pt idx="297">
                  <c:v>41038</c:v>
                </c:pt>
                <c:pt idx="298">
                  <c:v>41038</c:v>
                </c:pt>
                <c:pt idx="299">
                  <c:v>41038</c:v>
                </c:pt>
                <c:pt idx="300">
                  <c:v>41039</c:v>
                </c:pt>
                <c:pt idx="301">
                  <c:v>41039</c:v>
                </c:pt>
                <c:pt idx="302">
                  <c:v>41040</c:v>
                </c:pt>
                <c:pt idx="303">
                  <c:v>41041</c:v>
                </c:pt>
                <c:pt idx="304">
                  <c:v>41041</c:v>
                </c:pt>
                <c:pt idx="305">
                  <c:v>41041</c:v>
                </c:pt>
                <c:pt idx="306">
                  <c:v>41042</c:v>
                </c:pt>
                <c:pt idx="307">
                  <c:v>41042</c:v>
                </c:pt>
                <c:pt idx="308">
                  <c:v>41043</c:v>
                </c:pt>
                <c:pt idx="309">
                  <c:v>41044</c:v>
                </c:pt>
                <c:pt idx="310">
                  <c:v>41046</c:v>
                </c:pt>
                <c:pt idx="311">
                  <c:v>41046</c:v>
                </c:pt>
                <c:pt idx="312">
                  <c:v>41046</c:v>
                </c:pt>
                <c:pt idx="313">
                  <c:v>41047</c:v>
                </c:pt>
                <c:pt idx="314">
                  <c:v>41047</c:v>
                </c:pt>
                <c:pt idx="315">
                  <c:v>41047</c:v>
                </c:pt>
                <c:pt idx="316">
                  <c:v>41047</c:v>
                </c:pt>
                <c:pt idx="317">
                  <c:v>41047</c:v>
                </c:pt>
                <c:pt idx="318">
                  <c:v>41047</c:v>
                </c:pt>
                <c:pt idx="319">
                  <c:v>41047</c:v>
                </c:pt>
                <c:pt idx="320">
                  <c:v>41047</c:v>
                </c:pt>
                <c:pt idx="321">
                  <c:v>41047</c:v>
                </c:pt>
                <c:pt idx="322">
                  <c:v>41047</c:v>
                </c:pt>
                <c:pt idx="323">
                  <c:v>41048</c:v>
                </c:pt>
                <c:pt idx="324">
                  <c:v>41048</c:v>
                </c:pt>
                <c:pt idx="325">
                  <c:v>41048</c:v>
                </c:pt>
                <c:pt idx="326">
                  <c:v>41049</c:v>
                </c:pt>
                <c:pt idx="327">
                  <c:v>41049</c:v>
                </c:pt>
                <c:pt idx="328">
                  <c:v>41049</c:v>
                </c:pt>
                <c:pt idx="329">
                  <c:v>41050</c:v>
                </c:pt>
                <c:pt idx="330">
                  <c:v>41052</c:v>
                </c:pt>
                <c:pt idx="331">
                  <c:v>41052</c:v>
                </c:pt>
                <c:pt idx="332">
                  <c:v>41053</c:v>
                </c:pt>
                <c:pt idx="333">
                  <c:v>41053</c:v>
                </c:pt>
                <c:pt idx="334">
                  <c:v>41053</c:v>
                </c:pt>
                <c:pt idx="335">
                  <c:v>41053</c:v>
                </c:pt>
                <c:pt idx="336">
                  <c:v>41053</c:v>
                </c:pt>
                <c:pt idx="337">
                  <c:v>41053</c:v>
                </c:pt>
                <c:pt idx="338">
                  <c:v>41053</c:v>
                </c:pt>
                <c:pt idx="339">
                  <c:v>41053</c:v>
                </c:pt>
                <c:pt idx="340">
                  <c:v>41053</c:v>
                </c:pt>
                <c:pt idx="341">
                  <c:v>41054</c:v>
                </c:pt>
                <c:pt idx="342">
                  <c:v>41054</c:v>
                </c:pt>
                <c:pt idx="343">
                  <c:v>41054</c:v>
                </c:pt>
                <c:pt idx="344">
                  <c:v>41055</c:v>
                </c:pt>
                <c:pt idx="345">
                  <c:v>41055</c:v>
                </c:pt>
                <c:pt idx="346">
                  <c:v>41055</c:v>
                </c:pt>
                <c:pt idx="347">
                  <c:v>41055</c:v>
                </c:pt>
                <c:pt idx="348">
                  <c:v>41056</c:v>
                </c:pt>
                <c:pt idx="349">
                  <c:v>41057</c:v>
                </c:pt>
                <c:pt idx="350">
                  <c:v>41058</c:v>
                </c:pt>
                <c:pt idx="351">
                  <c:v>41058</c:v>
                </c:pt>
                <c:pt idx="352">
                  <c:v>41059</c:v>
                </c:pt>
                <c:pt idx="353">
                  <c:v>41059</c:v>
                </c:pt>
                <c:pt idx="354">
                  <c:v>41059</c:v>
                </c:pt>
                <c:pt idx="355">
                  <c:v>41059</c:v>
                </c:pt>
                <c:pt idx="356">
                  <c:v>41062</c:v>
                </c:pt>
                <c:pt idx="357">
                  <c:v>41062</c:v>
                </c:pt>
                <c:pt idx="358">
                  <c:v>41062</c:v>
                </c:pt>
                <c:pt idx="359">
                  <c:v>41063</c:v>
                </c:pt>
                <c:pt idx="360">
                  <c:v>41064</c:v>
                </c:pt>
                <c:pt idx="361">
                  <c:v>41065</c:v>
                </c:pt>
                <c:pt idx="362">
                  <c:v>41066</c:v>
                </c:pt>
                <c:pt idx="363">
                  <c:v>41066</c:v>
                </c:pt>
                <c:pt idx="364">
                  <c:v>41066</c:v>
                </c:pt>
                <c:pt idx="365">
                  <c:v>41072</c:v>
                </c:pt>
                <c:pt idx="366">
                  <c:v>41077</c:v>
                </c:pt>
                <c:pt idx="367">
                  <c:v>41080</c:v>
                </c:pt>
                <c:pt idx="368">
                  <c:v>41081</c:v>
                </c:pt>
                <c:pt idx="369">
                  <c:v>41081</c:v>
                </c:pt>
                <c:pt idx="370">
                  <c:v>41086</c:v>
                </c:pt>
                <c:pt idx="371">
                  <c:v>41088</c:v>
                </c:pt>
                <c:pt idx="372">
                  <c:v>41089</c:v>
                </c:pt>
                <c:pt idx="373">
                  <c:v>41091</c:v>
                </c:pt>
                <c:pt idx="374">
                  <c:v>41092</c:v>
                </c:pt>
                <c:pt idx="375">
                  <c:v>41092</c:v>
                </c:pt>
                <c:pt idx="376">
                  <c:v>41093</c:v>
                </c:pt>
                <c:pt idx="377">
                  <c:v>41094</c:v>
                </c:pt>
                <c:pt idx="378">
                  <c:v>41095</c:v>
                </c:pt>
                <c:pt idx="379">
                  <c:v>41095</c:v>
                </c:pt>
                <c:pt idx="380">
                  <c:v>41095</c:v>
                </c:pt>
                <c:pt idx="381">
                  <c:v>41095</c:v>
                </c:pt>
                <c:pt idx="382">
                  <c:v>41096</c:v>
                </c:pt>
                <c:pt idx="383">
                  <c:v>41096</c:v>
                </c:pt>
                <c:pt idx="384">
                  <c:v>41101</c:v>
                </c:pt>
                <c:pt idx="385">
                  <c:v>41109</c:v>
                </c:pt>
                <c:pt idx="386">
                  <c:v>41112</c:v>
                </c:pt>
                <c:pt idx="387">
                  <c:v>41112</c:v>
                </c:pt>
                <c:pt idx="388">
                  <c:v>41112</c:v>
                </c:pt>
                <c:pt idx="389">
                  <c:v>41113</c:v>
                </c:pt>
                <c:pt idx="390">
                  <c:v>41114</c:v>
                </c:pt>
                <c:pt idx="391">
                  <c:v>41120</c:v>
                </c:pt>
                <c:pt idx="392">
                  <c:v>41121</c:v>
                </c:pt>
                <c:pt idx="393">
                  <c:v>41128</c:v>
                </c:pt>
                <c:pt idx="394">
                  <c:v>41130</c:v>
                </c:pt>
                <c:pt idx="395">
                  <c:v>41132</c:v>
                </c:pt>
                <c:pt idx="396">
                  <c:v>41133</c:v>
                </c:pt>
                <c:pt idx="397">
                  <c:v>41134</c:v>
                </c:pt>
                <c:pt idx="398">
                  <c:v>41140</c:v>
                </c:pt>
                <c:pt idx="399">
                  <c:v>41147</c:v>
                </c:pt>
                <c:pt idx="400">
                  <c:v>41157</c:v>
                </c:pt>
                <c:pt idx="401">
                  <c:v>41160</c:v>
                </c:pt>
                <c:pt idx="402">
                  <c:v>41187</c:v>
                </c:pt>
                <c:pt idx="403">
                  <c:v>41189</c:v>
                </c:pt>
                <c:pt idx="404">
                  <c:v>41189</c:v>
                </c:pt>
                <c:pt idx="405">
                  <c:v>41192</c:v>
                </c:pt>
                <c:pt idx="406">
                  <c:v>41196</c:v>
                </c:pt>
                <c:pt idx="407">
                  <c:v>41217</c:v>
                </c:pt>
                <c:pt idx="408">
                  <c:v>41223</c:v>
                </c:pt>
                <c:pt idx="409">
                  <c:v>41232</c:v>
                </c:pt>
                <c:pt idx="410">
                  <c:v>41234</c:v>
                </c:pt>
                <c:pt idx="411">
                  <c:v>41235</c:v>
                </c:pt>
                <c:pt idx="412">
                  <c:v>41253</c:v>
                </c:pt>
                <c:pt idx="413">
                  <c:v>41266</c:v>
                </c:pt>
                <c:pt idx="414">
                  <c:v>41281</c:v>
                </c:pt>
                <c:pt idx="415">
                  <c:v>41290</c:v>
                </c:pt>
                <c:pt idx="416">
                  <c:v>41307</c:v>
                </c:pt>
                <c:pt idx="417">
                  <c:v>41308</c:v>
                </c:pt>
                <c:pt idx="418">
                  <c:v>41313</c:v>
                </c:pt>
                <c:pt idx="419">
                  <c:v>41347</c:v>
                </c:pt>
                <c:pt idx="420">
                  <c:v>41362</c:v>
                </c:pt>
                <c:pt idx="421">
                  <c:v>41391</c:v>
                </c:pt>
                <c:pt idx="422">
                  <c:v>41394</c:v>
                </c:pt>
                <c:pt idx="423">
                  <c:v>41421</c:v>
                </c:pt>
                <c:pt idx="424">
                  <c:v>41433</c:v>
                </c:pt>
                <c:pt idx="425">
                  <c:v>41448</c:v>
                </c:pt>
                <c:pt idx="426">
                  <c:v>41524</c:v>
                </c:pt>
                <c:pt idx="427">
                  <c:v>41565</c:v>
                </c:pt>
                <c:pt idx="428">
                  <c:v>41602</c:v>
                </c:pt>
                <c:pt idx="429">
                  <c:v>41680</c:v>
                </c:pt>
                <c:pt idx="430">
                  <c:v>41730</c:v>
                </c:pt>
                <c:pt idx="431">
                  <c:v>41749</c:v>
                </c:pt>
                <c:pt idx="432">
                  <c:v>41759</c:v>
                </c:pt>
                <c:pt idx="433">
                  <c:v>41844</c:v>
                </c:pt>
                <c:pt idx="434">
                  <c:v>41903</c:v>
                </c:pt>
                <c:pt idx="435">
                  <c:v>41950</c:v>
                </c:pt>
                <c:pt idx="436">
                  <c:v>42007</c:v>
                </c:pt>
                <c:pt idx="437">
                  <c:v>42059</c:v>
                </c:pt>
                <c:pt idx="438">
                  <c:v>42092</c:v>
                </c:pt>
                <c:pt idx="439">
                  <c:v>42121</c:v>
                </c:pt>
                <c:pt idx="440">
                  <c:v>42223</c:v>
                </c:pt>
                <c:pt idx="441">
                  <c:v>42290</c:v>
                </c:pt>
                <c:pt idx="442">
                  <c:v>42329</c:v>
                </c:pt>
                <c:pt idx="443">
                  <c:v>42428</c:v>
                </c:pt>
                <c:pt idx="444">
                  <c:v>42566</c:v>
                </c:pt>
                <c:pt idx="445">
                  <c:v>42605</c:v>
                </c:pt>
                <c:pt idx="446">
                  <c:v>42621</c:v>
                </c:pt>
                <c:pt idx="447">
                  <c:v>42745</c:v>
                </c:pt>
                <c:pt idx="448">
                  <c:v>42813</c:v>
                </c:pt>
                <c:pt idx="449">
                  <c:v>42904</c:v>
                </c:pt>
                <c:pt idx="450">
                  <c:v>42982</c:v>
                </c:pt>
                <c:pt idx="451">
                  <c:v>43086</c:v>
                </c:pt>
                <c:pt idx="452">
                  <c:v>43113</c:v>
                </c:pt>
                <c:pt idx="453">
                  <c:v>43127</c:v>
                </c:pt>
                <c:pt idx="454">
                  <c:v>43217</c:v>
                </c:pt>
                <c:pt idx="455">
                  <c:v>43281</c:v>
                </c:pt>
                <c:pt idx="456">
                  <c:v>43355</c:v>
                </c:pt>
                <c:pt idx="457">
                  <c:v>43419</c:v>
                </c:pt>
                <c:pt idx="458">
                  <c:v>43463</c:v>
                </c:pt>
                <c:pt idx="459">
                  <c:v>43522</c:v>
                </c:pt>
                <c:pt idx="460">
                  <c:v>43539</c:v>
                </c:pt>
                <c:pt idx="461">
                  <c:v>43620</c:v>
                </c:pt>
                <c:pt idx="462">
                  <c:v>43679</c:v>
                </c:pt>
                <c:pt idx="463">
                  <c:v>43732</c:v>
                </c:pt>
                <c:pt idx="464">
                  <c:v>43789</c:v>
                </c:pt>
                <c:pt idx="465">
                  <c:v>43839</c:v>
                </c:pt>
                <c:pt idx="466">
                  <c:v>43858</c:v>
                </c:pt>
                <c:pt idx="467">
                  <c:v>43868</c:v>
                </c:pt>
                <c:pt idx="468">
                  <c:v>43921</c:v>
                </c:pt>
                <c:pt idx="469">
                  <c:v>43985</c:v>
                </c:pt>
                <c:pt idx="470">
                  <c:v>44029</c:v>
                </c:pt>
                <c:pt idx="471">
                  <c:v>44055</c:v>
                </c:pt>
                <c:pt idx="472">
                  <c:v>44083</c:v>
                </c:pt>
                <c:pt idx="473">
                  <c:v>44093</c:v>
                </c:pt>
                <c:pt idx="474">
                  <c:v>44106</c:v>
                </c:pt>
                <c:pt idx="475">
                  <c:v>44150</c:v>
                </c:pt>
                <c:pt idx="476">
                  <c:v>44171</c:v>
                </c:pt>
                <c:pt idx="477">
                  <c:v>44184</c:v>
                </c:pt>
                <c:pt idx="478">
                  <c:v>44193</c:v>
                </c:pt>
                <c:pt idx="479">
                  <c:v>44201</c:v>
                </c:pt>
                <c:pt idx="480">
                  <c:v>44209</c:v>
                </c:pt>
                <c:pt idx="481">
                  <c:v>44214</c:v>
                </c:pt>
                <c:pt idx="482">
                  <c:v>44234</c:v>
                </c:pt>
                <c:pt idx="483">
                  <c:v>44258</c:v>
                </c:pt>
                <c:pt idx="484">
                  <c:v>44274</c:v>
                </c:pt>
                <c:pt idx="485">
                  <c:v>44286</c:v>
                </c:pt>
                <c:pt idx="486">
                  <c:v>44302</c:v>
                </c:pt>
                <c:pt idx="487">
                  <c:v>44306</c:v>
                </c:pt>
                <c:pt idx="488">
                  <c:v>44310</c:v>
                </c:pt>
                <c:pt idx="489">
                  <c:v>44335</c:v>
                </c:pt>
                <c:pt idx="490">
                  <c:v>44355</c:v>
                </c:pt>
                <c:pt idx="491">
                  <c:v>44367</c:v>
                </c:pt>
                <c:pt idx="492">
                  <c:v>44383</c:v>
                </c:pt>
                <c:pt idx="493">
                  <c:v>44400</c:v>
                </c:pt>
                <c:pt idx="494">
                  <c:v>44404</c:v>
                </c:pt>
                <c:pt idx="495">
                  <c:v>44409</c:v>
                </c:pt>
                <c:pt idx="496">
                  <c:v>44428</c:v>
                </c:pt>
                <c:pt idx="497">
                  <c:v>44447</c:v>
                </c:pt>
                <c:pt idx="498">
                  <c:v>44460</c:v>
                </c:pt>
                <c:pt idx="499">
                  <c:v>44476</c:v>
                </c:pt>
                <c:pt idx="500">
                  <c:v>44497</c:v>
                </c:pt>
                <c:pt idx="501">
                  <c:v>44504</c:v>
                </c:pt>
                <c:pt idx="502">
                  <c:v>44519</c:v>
                </c:pt>
                <c:pt idx="503">
                  <c:v>44587</c:v>
                </c:pt>
                <c:pt idx="504">
                  <c:v>44636</c:v>
                </c:pt>
                <c:pt idx="505">
                  <c:v>44691</c:v>
                </c:pt>
                <c:pt idx="506">
                  <c:v>44761</c:v>
                </c:pt>
                <c:pt idx="507">
                  <c:v>44846</c:v>
                </c:pt>
                <c:pt idx="508">
                  <c:v>44898</c:v>
                </c:pt>
                <c:pt idx="509">
                  <c:v>44920</c:v>
                </c:pt>
                <c:pt idx="510">
                  <c:v>45061</c:v>
                </c:pt>
                <c:pt idx="511">
                  <c:v>45204</c:v>
                </c:pt>
                <c:pt idx="512">
                  <c:v>45343</c:v>
                </c:pt>
                <c:pt idx="513">
                  <c:v>45428</c:v>
                </c:pt>
                <c:pt idx="514">
                  <c:v>45547</c:v>
                </c:pt>
                <c:pt idx="515">
                  <c:v>45581</c:v>
                </c:pt>
                <c:pt idx="516">
                  <c:v>45618</c:v>
                </c:pt>
                <c:pt idx="517">
                  <c:v>45777</c:v>
                </c:pt>
                <c:pt idx="518">
                  <c:v>45948</c:v>
                </c:pt>
                <c:pt idx="519">
                  <c:v>46063</c:v>
                </c:pt>
                <c:pt idx="520">
                  <c:v>46155</c:v>
                </c:pt>
                <c:pt idx="521">
                  <c:v>46296</c:v>
                </c:pt>
                <c:pt idx="522">
                  <c:v>46348</c:v>
                </c:pt>
                <c:pt idx="523">
                  <c:v>46388</c:v>
                </c:pt>
                <c:pt idx="524">
                  <c:v>46610</c:v>
                </c:pt>
                <c:pt idx="525">
                  <c:v>46752</c:v>
                </c:pt>
                <c:pt idx="526">
                  <c:v>46845</c:v>
                </c:pt>
                <c:pt idx="527">
                  <c:v>46955</c:v>
                </c:pt>
                <c:pt idx="528">
                  <c:v>47071</c:v>
                </c:pt>
                <c:pt idx="529">
                  <c:v>47113</c:v>
                </c:pt>
                <c:pt idx="530">
                  <c:v>47156</c:v>
                </c:pt>
                <c:pt idx="531">
                  <c:v>47308</c:v>
                </c:pt>
                <c:pt idx="532">
                  <c:v>47437</c:v>
                </c:pt>
                <c:pt idx="533">
                  <c:v>47556</c:v>
                </c:pt>
                <c:pt idx="534">
                  <c:v>47678</c:v>
                </c:pt>
                <c:pt idx="535">
                  <c:v>47746</c:v>
                </c:pt>
                <c:pt idx="536">
                  <c:v>47778</c:v>
                </c:pt>
                <c:pt idx="537">
                  <c:v>47802</c:v>
                </c:pt>
                <c:pt idx="538">
                  <c:v>47908</c:v>
                </c:pt>
                <c:pt idx="539">
                  <c:v>48009</c:v>
                </c:pt>
                <c:pt idx="540">
                  <c:v>48096</c:v>
                </c:pt>
                <c:pt idx="541">
                  <c:v>48152</c:v>
                </c:pt>
                <c:pt idx="542">
                  <c:v>48218</c:v>
                </c:pt>
                <c:pt idx="543">
                  <c:v>48239</c:v>
                </c:pt>
                <c:pt idx="544">
                  <c:v>48256</c:v>
                </c:pt>
                <c:pt idx="545">
                  <c:v>48340</c:v>
                </c:pt>
                <c:pt idx="546">
                  <c:v>48396</c:v>
                </c:pt>
                <c:pt idx="547">
                  <c:v>48454</c:v>
                </c:pt>
                <c:pt idx="548">
                  <c:v>48491</c:v>
                </c:pt>
                <c:pt idx="549">
                  <c:v>48525</c:v>
                </c:pt>
                <c:pt idx="550">
                  <c:v>48547</c:v>
                </c:pt>
                <c:pt idx="551">
                  <c:v>48559</c:v>
                </c:pt>
                <c:pt idx="552">
                  <c:v>48635</c:v>
                </c:pt>
                <c:pt idx="553">
                  <c:v>48720</c:v>
                </c:pt>
                <c:pt idx="554">
                  <c:v>48769</c:v>
                </c:pt>
                <c:pt idx="555">
                  <c:v>48811</c:v>
                </c:pt>
                <c:pt idx="556">
                  <c:v>48858</c:v>
                </c:pt>
                <c:pt idx="557">
                  <c:v>48868</c:v>
                </c:pt>
                <c:pt idx="558">
                  <c:v>48879</c:v>
                </c:pt>
                <c:pt idx="559">
                  <c:v>48939</c:v>
                </c:pt>
                <c:pt idx="560">
                  <c:v>48982</c:v>
                </c:pt>
                <c:pt idx="561">
                  <c:v>49022</c:v>
                </c:pt>
                <c:pt idx="562">
                  <c:v>49066</c:v>
                </c:pt>
                <c:pt idx="563">
                  <c:v>49110</c:v>
                </c:pt>
                <c:pt idx="564">
                  <c:v>49119</c:v>
                </c:pt>
                <c:pt idx="565">
                  <c:v>49127</c:v>
                </c:pt>
                <c:pt idx="566">
                  <c:v>49193</c:v>
                </c:pt>
                <c:pt idx="567">
                  <c:v>49270</c:v>
                </c:pt>
                <c:pt idx="568">
                  <c:v>49305</c:v>
                </c:pt>
                <c:pt idx="569">
                  <c:v>49350</c:v>
                </c:pt>
                <c:pt idx="570">
                  <c:v>49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B$2:$B$572</c:f>
              <c:numCache>
                <c:formatCode>General</c:formatCode>
                <c:ptCount val="57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9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3</c:v>
                </c:pt>
                <c:pt idx="32">
                  <c:v>157</c:v>
                </c:pt>
                <c:pt idx="33">
                  <c:v>212</c:v>
                </c:pt>
                <c:pt idx="34">
                  <c:v>367</c:v>
                </c:pt>
                <c:pt idx="35">
                  <c:v>439</c:v>
                </c:pt>
                <c:pt idx="36">
                  <c:v>476</c:v>
                </c:pt>
                <c:pt idx="37">
                  <c:v>546</c:v>
                </c:pt>
                <c:pt idx="38">
                  <c:v>678</c:v>
                </c:pt>
                <c:pt idx="39">
                  <c:v>698</c:v>
                </c:pt>
                <c:pt idx="40">
                  <c:v>667</c:v>
                </c:pt>
                <c:pt idx="41">
                  <c:v>779</c:v>
                </c:pt>
                <c:pt idx="42">
                  <c:v>952</c:v>
                </c:pt>
                <c:pt idx="43">
                  <c:v>1083</c:v>
                </c:pt>
                <c:pt idx="44">
                  <c:v>1259</c:v>
                </c:pt>
                <c:pt idx="45">
                  <c:v>1387</c:v>
                </c:pt>
                <c:pt idx="46">
                  <c:v>1464</c:v>
                </c:pt>
                <c:pt idx="47">
                  <c:v>1417</c:v>
                </c:pt>
                <c:pt idx="48">
                  <c:v>1591</c:v>
                </c:pt>
                <c:pt idx="49">
                  <c:v>1707</c:v>
                </c:pt>
                <c:pt idx="50">
                  <c:v>1986</c:v>
                </c:pt>
                <c:pt idx="51">
                  <c:v>2154</c:v>
                </c:pt>
                <c:pt idx="52">
                  <c:v>2447</c:v>
                </c:pt>
                <c:pt idx="53">
                  <c:v>2530</c:v>
                </c:pt>
                <c:pt idx="54">
                  <c:v>2577</c:v>
                </c:pt>
                <c:pt idx="55">
                  <c:v>2759</c:v>
                </c:pt>
                <c:pt idx="56">
                  <c:v>3104</c:v>
                </c:pt>
                <c:pt idx="57">
                  <c:v>3134</c:v>
                </c:pt>
                <c:pt idx="58">
                  <c:v>3583</c:v>
                </c:pt>
                <c:pt idx="59">
                  <c:v>3877</c:v>
                </c:pt>
                <c:pt idx="60">
                  <c:v>3967</c:v>
                </c:pt>
                <c:pt idx="61">
                  <c:v>3864</c:v>
                </c:pt>
                <c:pt idx="62">
                  <c:v>3928</c:v>
                </c:pt>
                <c:pt idx="63">
                  <c:v>3870</c:v>
                </c:pt>
                <c:pt idx="64">
                  <c:v>4084</c:v>
                </c:pt>
                <c:pt idx="65">
                  <c:v>4421</c:v>
                </c:pt>
                <c:pt idx="66">
                  <c:v>4290</c:v>
                </c:pt>
                <c:pt idx="67">
                  <c:v>3939</c:v>
                </c:pt>
                <c:pt idx="68">
                  <c:v>3861</c:v>
                </c:pt>
                <c:pt idx="69">
                  <c:v>3617</c:v>
                </c:pt>
                <c:pt idx="70">
                  <c:v>3494</c:v>
                </c:pt>
                <c:pt idx="71">
                  <c:v>3921</c:v>
                </c:pt>
                <c:pt idx="72">
                  <c:v>4307</c:v>
                </c:pt>
                <c:pt idx="73">
                  <c:v>4354</c:v>
                </c:pt>
                <c:pt idx="74">
                  <c:v>4018</c:v>
                </c:pt>
                <c:pt idx="75">
                  <c:v>3903</c:v>
                </c:pt>
                <c:pt idx="76">
                  <c:v>3923</c:v>
                </c:pt>
                <c:pt idx="77">
                  <c:v>3704</c:v>
                </c:pt>
                <c:pt idx="78">
                  <c:v>3899</c:v>
                </c:pt>
                <c:pt idx="79">
                  <c:v>4052</c:v>
                </c:pt>
                <c:pt idx="80">
                  <c:v>4111</c:v>
                </c:pt>
                <c:pt idx="81">
                  <c:v>3728</c:v>
                </c:pt>
                <c:pt idx="82">
                  <c:v>3455</c:v>
                </c:pt>
                <c:pt idx="83">
                  <c:v>3585</c:v>
                </c:pt>
                <c:pt idx="84">
                  <c:v>3297</c:v>
                </c:pt>
                <c:pt idx="85">
                  <c:v>3295</c:v>
                </c:pt>
                <c:pt idx="86">
                  <c:v>3388</c:v>
                </c:pt>
                <c:pt idx="87">
                  <c:v>3150</c:v>
                </c:pt>
                <c:pt idx="88">
                  <c:v>3118</c:v>
                </c:pt>
                <c:pt idx="89">
                  <c:v>2862</c:v>
                </c:pt>
                <c:pt idx="90">
                  <c:v>2765</c:v>
                </c:pt>
                <c:pt idx="91">
                  <c:v>2581</c:v>
                </c:pt>
                <c:pt idx="92">
                  <c:v>2615</c:v>
                </c:pt>
                <c:pt idx="93">
                  <c:v>2675</c:v>
                </c:pt>
                <c:pt idx="94">
                  <c:v>2569</c:v>
                </c:pt>
                <c:pt idx="95">
                  <c:v>2396</c:v>
                </c:pt>
                <c:pt idx="96">
                  <c:v>2245</c:v>
                </c:pt>
                <c:pt idx="97">
                  <c:v>2200</c:v>
                </c:pt>
                <c:pt idx="98">
                  <c:v>2054</c:v>
                </c:pt>
                <c:pt idx="99">
                  <c:v>2108</c:v>
                </c:pt>
                <c:pt idx="100">
                  <c:v>2159</c:v>
                </c:pt>
                <c:pt idx="101">
                  <c:v>2155</c:v>
                </c:pt>
                <c:pt idx="102">
                  <c:v>2058</c:v>
                </c:pt>
                <c:pt idx="103">
                  <c:v>2012</c:v>
                </c:pt>
                <c:pt idx="104">
                  <c:v>2022</c:v>
                </c:pt>
                <c:pt idx="105">
                  <c:v>2003</c:v>
                </c:pt>
                <c:pt idx="106">
                  <c:v>2003</c:v>
                </c:pt>
                <c:pt idx="107">
                  <c:v>2009</c:v>
                </c:pt>
                <c:pt idx="108">
                  <c:v>2059</c:v>
                </c:pt>
                <c:pt idx="109">
                  <c:v>1930</c:v>
                </c:pt>
                <c:pt idx="110">
                  <c:v>1865</c:v>
                </c:pt>
                <c:pt idx="111">
                  <c:v>1915</c:v>
                </c:pt>
                <c:pt idx="112">
                  <c:v>1929</c:v>
                </c:pt>
                <c:pt idx="113">
                  <c:v>1953</c:v>
                </c:pt>
                <c:pt idx="114">
                  <c:v>1919</c:v>
                </c:pt>
                <c:pt idx="115">
                  <c:v>1817</c:v>
                </c:pt>
                <c:pt idx="116">
                  <c:v>1793</c:v>
                </c:pt>
                <c:pt idx="117">
                  <c:v>1790</c:v>
                </c:pt>
                <c:pt idx="118">
                  <c:v>1836</c:v>
                </c:pt>
                <c:pt idx="119">
                  <c:v>1882</c:v>
                </c:pt>
                <c:pt idx="120">
                  <c:v>1984</c:v>
                </c:pt>
                <c:pt idx="121">
                  <c:v>2068</c:v>
                </c:pt>
                <c:pt idx="122">
                  <c:v>1935</c:v>
                </c:pt>
                <c:pt idx="123">
                  <c:v>1903</c:v>
                </c:pt>
                <c:pt idx="124">
                  <c:v>1738</c:v>
                </c:pt>
                <c:pt idx="125">
                  <c:v>1971</c:v>
                </c:pt>
                <c:pt idx="126">
                  <c:v>2063</c:v>
                </c:pt>
                <c:pt idx="127">
                  <c:v>2153</c:v>
                </c:pt>
                <c:pt idx="128">
                  <c:v>2299</c:v>
                </c:pt>
                <c:pt idx="129">
                  <c:v>2304</c:v>
                </c:pt>
                <c:pt idx="130">
                  <c:v>2172</c:v>
                </c:pt>
                <c:pt idx="131">
                  <c:v>2030</c:v>
                </c:pt>
                <c:pt idx="132">
                  <c:v>2177</c:v>
                </c:pt>
                <c:pt idx="133">
                  <c:v>2239</c:v>
                </c:pt>
                <c:pt idx="134">
                  <c:v>2341</c:v>
                </c:pt>
                <c:pt idx="135">
                  <c:v>2390</c:v>
                </c:pt>
                <c:pt idx="136">
                  <c:v>2312</c:v>
                </c:pt>
                <c:pt idx="137">
                  <c:v>2115</c:v>
                </c:pt>
                <c:pt idx="138">
                  <c:v>1962</c:v>
                </c:pt>
                <c:pt idx="139">
                  <c:v>1909</c:v>
                </c:pt>
                <c:pt idx="140">
                  <c:v>1795</c:v>
                </c:pt>
                <c:pt idx="141">
                  <c:v>1877</c:v>
                </c:pt>
                <c:pt idx="142">
                  <c:v>1949</c:v>
                </c:pt>
                <c:pt idx="143">
                  <c:v>1822</c:v>
                </c:pt>
                <c:pt idx="144">
                  <c:v>1751</c:v>
                </c:pt>
                <c:pt idx="145">
                  <c:v>1652</c:v>
                </c:pt>
                <c:pt idx="146">
                  <c:v>1615</c:v>
                </c:pt>
                <c:pt idx="147">
                  <c:v>1559</c:v>
                </c:pt>
                <c:pt idx="148">
                  <c:v>1610</c:v>
                </c:pt>
                <c:pt idx="149">
                  <c:v>1648</c:v>
                </c:pt>
                <c:pt idx="150">
                  <c:v>1507</c:v>
                </c:pt>
                <c:pt idx="151">
                  <c:v>1464</c:v>
                </c:pt>
                <c:pt idx="152">
                  <c:v>1328</c:v>
                </c:pt>
                <c:pt idx="153">
                  <c:v>1357</c:v>
                </c:pt>
                <c:pt idx="154">
                  <c:v>1382</c:v>
                </c:pt>
                <c:pt idx="155">
                  <c:v>1437</c:v>
                </c:pt>
                <c:pt idx="156">
                  <c:v>1468</c:v>
                </c:pt>
                <c:pt idx="157">
                  <c:v>1439</c:v>
                </c:pt>
                <c:pt idx="158">
                  <c:v>1378</c:v>
                </c:pt>
                <c:pt idx="159">
                  <c:v>1324</c:v>
                </c:pt>
                <c:pt idx="160">
                  <c:v>1339</c:v>
                </c:pt>
                <c:pt idx="161">
                  <c:v>1334</c:v>
                </c:pt>
                <c:pt idx="162">
                  <c:v>1373</c:v>
                </c:pt>
                <c:pt idx="163">
                  <c:v>1424</c:v>
                </c:pt>
                <c:pt idx="164">
                  <c:v>1385</c:v>
                </c:pt>
                <c:pt idx="165">
                  <c:v>1265</c:v>
                </c:pt>
                <c:pt idx="166">
                  <c:v>1174</c:v>
                </c:pt>
                <c:pt idx="167">
                  <c:v>1153</c:v>
                </c:pt>
                <c:pt idx="168">
                  <c:v>1069</c:v>
                </c:pt>
                <c:pt idx="169">
                  <c:v>1047</c:v>
                </c:pt>
                <c:pt idx="170">
                  <c:v>1065</c:v>
                </c:pt>
                <c:pt idx="171">
                  <c:v>1005</c:v>
                </c:pt>
                <c:pt idx="172">
                  <c:v>944</c:v>
                </c:pt>
                <c:pt idx="173">
                  <c:v>874</c:v>
                </c:pt>
                <c:pt idx="174">
                  <c:v>918</c:v>
                </c:pt>
                <c:pt idx="175">
                  <c:v>892</c:v>
                </c:pt>
                <c:pt idx="176">
                  <c:v>903</c:v>
                </c:pt>
                <c:pt idx="177">
                  <c:v>932</c:v>
                </c:pt>
                <c:pt idx="178">
                  <c:v>923</c:v>
                </c:pt>
                <c:pt idx="179">
                  <c:v>891</c:v>
                </c:pt>
                <c:pt idx="180">
                  <c:v>870</c:v>
                </c:pt>
                <c:pt idx="181">
                  <c:v>919</c:v>
                </c:pt>
                <c:pt idx="182">
                  <c:v>886</c:v>
                </c:pt>
                <c:pt idx="183">
                  <c:v>892</c:v>
                </c:pt>
                <c:pt idx="184">
                  <c:v>888</c:v>
                </c:pt>
                <c:pt idx="185">
                  <c:v>823</c:v>
                </c:pt>
                <c:pt idx="186">
                  <c:v>794</c:v>
                </c:pt>
                <c:pt idx="187">
                  <c:v>751</c:v>
                </c:pt>
                <c:pt idx="188">
                  <c:v>746</c:v>
                </c:pt>
                <c:pt idx="189">
                  <c:v>805</c:v>
                </c:pt>
                <c:pt idx="190">
                  <c:v>864</c:v>
                </c:pt>
                <c:pt idx="191">
                  <c:v>866</c:v>
                </c:pt>
                <c:pt idx="192">
                  <c:v>893</c:v>
                </c:pt>
                <c:pt idx="193">
                  <c:v>890</c:v>
                </c:pt>
                <c:pt idx="194">
                  <c:v>891</c:v>
                </c:pt>
                <c:pt idx="195">
                  <c:v>918</c:v>
                </c:pt>
                <c:pt idx="196">
                  <c:v>854</c:v>
                </c:pt>
                <c:pt idx="197">
                  <c:v>837</c:v>
                </c:pt>
                <c:pt idx="198">
                  <c:v>822</c:v>
                </c:pt>
                <c:pt idx="199">
                  <c:v>823</c:v>
                </c:pt>
                <c:pt idx="200">
                  <c:v>804</c:v>
                </c:pt>
                <c:pt idx="201">
                  <c:v>803</c:v>
                </c:pt>
                <c:pt idx="202">
                  <c:v>807</c:v>
                </c:pt>
                <c:pt idx="203">
                  <c:v>811</c:v>
                </c:pt>
                <c:pt idx="204">
                  <c:v>778</c:v>
                </c:pt>
                <c:pt idx="205">
                  <c:v>772</c:v>
                </c:pt>
                <c:pt idx="206">
                  <c:v>755</c:v>
                </c:pt>
                <c:pt idx="207">
                  <c:v>720</c:v>
                </c:pt>
                <c:pt idx="208">
                  <c:v>719</c:v>
                </c:pt>
                <c:pt idx="209">
                  <c:v>732</c:v>
                </c:pt>
                <c:pt idx="210">
                  <c:v>702</c:v>
                </c:pt>
                <c:pt idx="211">
                  <c:v>695</c:v>
                </c:pt>
                <c:pt idx="212">
                  <c:v>680</c:v>
                </c:pt>
                <c:pt idx="213">
                  <c:v>651</c:v>
                </c:pt>
                <c:pt idx="214">
                  <c:v>641</c:v>
                </c:pt>
                <c:pt idx="215">
                  <c:v>639</c:v>
                </c:pt>
                <c:pt idx="216">
                  <c:v>637</c:v>
                </c:pt>
                <c:pt idx="217">
                  <c:v>608</c:v>
                </c:pt>
                <c:pt idx="218">
                  <c:v>605</c:v>
                </c:pt>
                <c:pt idx="219">
                  <c:v>590</c:v>
                </c:pt>
                <c:pt idx="220">
                  <c:v>560</c:v>
                </c:pt>
                <c:pt idx="221">
                  <c:v>555</c:v>
                </c:pt>
                <c:pt idx="222">
                  <c:v>554</c:v>
                </c:pt>
                <c:pt idx="223">
                  <c:v>555</c:v>
                </c:pt>
                <c:pt idx="224">
                  <c:v>545</c:v>
                </c:pt>
                <c:pt idx="225">
                  <c:v>524</c:v>
                </c:pt>
                <c:pt idx="226">
                  <c:v>512</c:v>
                </c:pt>
                <c:pt idx="227">
                  <c:v>497</c:v>
                </c:pt>
                <c:pt idx="228">
                  <c:v>494</c:v>
                </c:pt>
                <c:pt idx="229">
                  <c:v>496</c:v>
                </c:pt>
                <c:pt idx="230">
                  <c:v>503</c:v>
                </c:pt>
                <c:pt idx="231">
                  <c:v>496</c:v>
                </c:pt>
                <c:pt idx="232">
                  <c:v>488</c:v>
                </c:pt>
                <c:pt idx="233">
                  <c:v>497</c:v>
                </c:pt>
                <c:pt idx="234">
                  <c:v>501</c:v>
                </c:pt>
                <c:pt idx="235">
                  <c:v>493</c:v>
                </c:pt>
                <c:pt idx="236">
                  <c:v>492</c:v>
                </c:pt>
                <c:pt idx="237">
                  <c:v>493</c:v>
                </c:pt>
                <c:pt idx="238">
                  <c:v>492</c:v>
                </c:pt>
                <c:pt idx="239">
                  <c:v>490</c:v>
                </c:pt>
                <c:pt idx="240">
                  <c:v>489</c:v>
                </c:pt>
                <c:pt idx="241">
                  <c:v>489</c:v>
                </c:pt>
                <c:pt idx="242">
                  <c:v>483</c:v>
                </c:pt>
                <c:pt idx="243">
                  <c:v>483</c:v>
                </c:pt>
                <c:pt idx="244">
                  <c:v>485</c:v>
                </c:pt>
                <c:pt idx="245">
                  <c:v>480</c:v>
                </c:pt>
                <c:pt idx="246">
                  <c:v>477</c:v>
                </c:pt>
                <c:pt idx="247">
                  <c:v>471</c:v>
                </c:pt>
                <c:pt idx="248">
                  <c:v>470</c:v>
                </c:pt>
                <c:pt idx="249">
                  <c:v>463</c:v>
                </c:pt>
                <c:pt idx="250">
                  <c:v>466</c:v>
                </c:pt>
                <c:pt idx="251">
                  <c:v>470</c:v>
                </c:pt>
                <c:pt idx="252">
                  <c:v>470</c:v>
                </c:pt>
                <c:pt idx="253">
                  <c:v>467</c:v>
                </c:pt>
                <c:pt idx="254">
                  <c:v>467</c:v>
                </c:pt>
                <c:pt idx="255">
                  <c:v>467</c:v>
                </c:pt>
                <c:pt idx="256">
                  <c:v>463</c:v>
                </c:pt>
                <c:pt idx="257">
                  <c:v>462</c:v>
                </c:pt>
                <c:pt idx="258">
                  <c:v>464</c:v>
                </c:pt>
                <c:pt idx="259">
                  <c:v>460</c:v>
                </c:pt>
                <c:pt idx="260">
                  <c:v>462</c:v>
                </c:pt>
                <c:pt idx="261">
                  <c:v>459</c:v>
                </c:pt>
                <c:pt idx="262">
                  <c:v>458</c:v>
                </c:pt>
                <c:pt idx="263">
                  <c:v>457</c:v>
                </c:pt>
                <c:pt idx="264">
                  <c:v>456</c:v>
                </c:pt>
                <c:pt idx="265">
                  <c:v>457</c:v>
                </c:pt>
                <c:pt idx="266">
                  <c:v>456</c:v>
                </c:pt>
                <c:pt idx="267">
                  <c:v>455</c:v>
                </c:pt>
                <c:pt idx="268">
                  <c:v>453</c:v>
                </c:pt>
                <c:pt idx="269">
                  <c:v>452</c:v>
                </c:pt>
                <c:pt idx="270">
                  <c:v>452</c:v>
                </c:pt>
                <c:pt idx="271">
                  <c:v>449</c:v>
                </c:pt>
                <c:pt idx="272">
                  <c:v>449</c:v>
                </c:pt>
                <c:pt idx="273">
                  <c:v>447</c:v>
                </c:pt>
                <c:pt idx="274">
                  <c:v>450</c:v>
                </c:pt>
                <c:pt idx="275">
                  <c:v>446</c:v>
                </c:pt>
                <c:pt idx="276">
                  <c:v>442</c:v>
                </c:pt>
                <c:pt idx="277">
                  <c:v>441</c:v>
                </c:pt>
                <c:pt idx="278">
                  <c:v>441</c:v>
                </c:pt>
                <c:pt idx="279">
                  <c:v>442</c:v>
                </c:pt>
                <c:pt idx="280">
                  <c:v>442</c:v>
                </c:pt>
                <c:pt idx="281">
                  <c:v>441</c:v>
                </c:pt>
                <c:pt idx="282">
                  <c:v>440</c:v>
                </c:pt>
                <c:pt idx="283">
                  <c:v>441</c:v>
                </c:pt>
                <c:pt idx="284">
                  <c:v>439</c:v>
                </c:pt>
                <c:pt idx="285">
                  <c:v>438</c:v>
                </c:pt>
                <c:pt idx="286">
                  <c:v>438</c:v>
                </c:pt>
                <c:pt idx="287">
                  <c:v>438</c:v>
                </c:pt>
                <c:pt idx="288">
                  <c:v>438</c:v>
                </c:pt>
                <c:pt idx="289">
                  <c:v>438</c:v>
                </c:pt>
                <c:pt idx="290">
                  <c:v>438</c:v>
                </c:pt>
                <c:pt idx="291">
                  <c:v>438</c:v>
                </c:pt>
                <c:pt idx="292">
                  <c:v>438</c:v>
                </c:pt>
                <c:pt idx="293">
                  <c:v>438</c:v>
                </c:pt>
                <c:pt idx="294">
                  <c:v>438</c:v>
                </c:pt>
                <c:pt idx="295">
                  <c:v>439</c:v>
                </c:pt>
                <c:pt idx="296">
                  <c:v>439</c:v>
                </c:pt>
                <c:pt idx="297">
                  <c:v>438</c:v>
                </c:pt>
                <c:pt idx="298">
                  <c:v>438</c:v>
                </c:pt>
                <c:pt idx="299">
                  <c:v>438</c:v>
                </c:pt>
                <c:pt idx="300">
                  <c:v>438</c:v>
                </c:pt>
                <c:pt idx="301">
                  <c:v>438</c:v>
                </c:pt>
                <c:pt idx="302">
                  <c:v>437</c:v>
                </c:pt>
                <c:pt idx="303">
                  <c:v>438</c:v>
                </c:pt>
                <c:pt idx="304">
                  <c:v>436</c:v>
                </c:pt>
                <c:pt idx="305">
                  <c:v>436</c:v>
                </c:pt>
                <c:pt idx="306">
                  <c:v>437</c:v>
                </c:pt>
                <c:pt idx="307">
                  <c:v>437</c:v>
                </c:pt>
                <c:pt idx="308">
                  <c:v>438</c:v>
                </c:pt>
                <c:pt idx="309">
                  <c:v>438</c:v>
                </c:pt>
                <c:pt idx="310">
                  <c:v>437</c:v>
                </c:pt>
                <c:pt idx="311">
                  <c:v>437</c:v>
                </c:pt>
                <c:pt idx="312">
                  <c:v>437</c:v>
                </c:pt>
                <c:pt idx="313">
                  <c:v>437</c:v>
                </c:pt>
                <c:pt idx="314">
                  <c:v>437</c:v>
                </c:pt>
                <c:pt idx="315">
                  <c:v>437</c:v>
                </c:pt>
                <c:pt idx="316">
                  <c:v>437</c:v>
                </c:pt>
                <c:pt idx="317">
                  <c:v>437</c:v>
                </c:pt>
                <c:pt idx="318">
                  <c:v>437</c:v>
                </c:pt>
                <c:pt idx="319">
                  <c:v>437</c:v>
                </c:pt>
                <c:pt idx="320">
                  <c:v>437</c:v>
                </c:pt>
                <c:pt idx="321">
                  <c:v>437</c:v>
                </c:pt>
                <c:pt idx="322">
                  <c:v>436</c:v>
                </c:pt>
                <c:pt idx="323">
                  <c:v>436</c:v>
                </c:pt>
                <c:pt idx="324">
                  <c:v>436</c:v>
                </c:pt>
                <c:pt idx="325">
                  <c:v>436</c:v>
                </c:pt>
                <c:pt idx="326">
                  <c:v>437</c:v>
                </c:pt>
                <c:pt idx="327">
                  <c:v>436</c:v>
                </c:pt>
                <c:pt idx="328">
                  <c:v>436</c:v>
                </c:pt>
                <c:pt idx="329">
                  <c:v>436</c:v>
                </c:pt>
                <c:pt idx="330">
                  <c:v>436</c:v>
                </c:pt>
                <c:pt idx="331">
                  <c:v>436</c:v>
                </c:pt>
                <c:pt idx="332">
                  <c:v>436</c:v>
                </c:pt>
                <c:pt idx="333">
                  <c:v>436</c:v>
                </c:pt>
                <c:pt idx="334">
                  <c:v>436</c:v>
                </c:pt>
                <c:pt idx="335">
                  <c:v>436</c:v>
                </c:pt>
                <c:pt idx="336">
                  <c:v>435</c:v>
                </c:pt>
                <c:pt idx="337">
                  <c:v>435</c:v>
                </c:pt>
                <c:pt idx="338">
                  <c:v>435</c:v>
                </c:pt>
                <c:pt idx="339">
                  <c:v>435</c:v>
                </c:pt>
                <c:pt idx="340">
                  <c:v>435</c:v>
                </c:pt>
                <c:pt idx="341">
                  <c:v>435</c:v>
                </c:pt>
                <c:pt idx="342">
                  <c:v>435</c:v>
                </c:pt>
                <c:pt idx="343">
                  <c:v>435</c:v>
                </c:pt>
                <c:pt idx="344">
                  <c:v>435</c:v>
                </c:pt>
                <c:pt idx="345">
                  <c:v>435</c:v>
                </c:pt>
                <c:pt idx="346">
                  <c:v>435</c:v>
                </c:pt>
                <c:pt idx="347">
                  <c:v>435</c:v>
                </c:pt>
                <c:pt idx="348">
                  <c:v>435</c:v>
                </c:pt>
                <c:pt idx="349">
                  <c:v>436</c:v>
                </c:pt>
                <c:pt idx="350">
                  <c:v>437</c:v>
                </c:pt>
                <c:pt idx="351">
                  <c:v>437</c:v>
                </c:pt>
                <c:pt idx="352">
                  <c:v>438</c:v>
                </c:pt>
                <c:pt idx="353">
                  <c:v>437</c:v>
                </c:pt>
                <c:pt idx="354">
                  <c:v>437</c:v>
                </c:pt>
                <c:pt idx="355">
                  <c:v>437</c:v>
                </c:pt>
                <c:pt idx="356">
                  <c:v>439</c:v>
                </c:pt>
                <c:pt idx="357">
                  <c:v>439</c:v>
                </c:pt>
                <c:pt idx="358">
                  <c:v>439</c:v>
                </c:pt>
                <c:pt idx="359">
                  <c:v>439</c:v>
                </c:pt>
                <c:pt idx="360">
                  <c:v>439</c:v>
                </c:pt>
                <c:pt idx="361">
                  <c:v>438</c:v>
                </c:pt>
                <c:pt idx="362">
                  <c:v>438</c:v>
                </c:pt>
                <c:pt idx="363">
                  <c:v>438</c:v>
                </c:pt>
                <c:pt idx="364">
                  <c:v>438</c:v>
                </c:pt>
                <c:pt idx="365">
                  <c:v>439</c:v>
                </c:pt>
                <c:pt idx="366">
                  <c:v>443</c:v>
                </c:pt>
                <c:pt idx="367">
                  <c:v>445</c:v>
                </c:pt>
                <c:pt idx="368">
                  <c:v>446</c:v>
                </c:pt>
                <c:pt idx="369">
                  <c:v>445</c:v>
                </c:pt>
                <c:pt idx="370">
                  <c:v>449</c:v>
                </c:pt>
                <c:pt idx="371">
                  <c:v>446</c:v>
                </c:pt>
                <c:pt idx="372">
                  <c:v>446</c:v>
                </c:pt>
                <c:pt idx="373">
                  <c:v>446</c:v>
                </c:pt>
                <c:pt idx="374">
                  <c:v>446</c:v>
                </c:pt>
                <c:pt idx="375">
                  <c:v>446</c:v>
                </c:pt>
                <c:pt idx="376">
                  <c:v>446</c:v>
                </c:pt>
                <c:pt idx="377">
                  <c:v>447</c:v>
                </c:pt>
                <c:pt idx="378">
                  <c:v>447</c:v>
                </c:pt>
                <c:pt idx="379">
                  <c:v>447</c:v>
                </c:pt>
                <c:pt idx="380">
                  <c:v>446</c:v>
                </c:pt>
                <c:pt idx="381">
                  <c:v>444</c:v>
                </c:pt>
                <c:pt idx="382">
                  <c:v>444</c:v>
                </c:pt>
                <c:pt idx="383">
                  <c:v>444</c:v>
                </c:pt>
                <c:pt idx="384">
                  <c:v>445</c:v>
                </c:pt>
                <c:pt idx="385">
                  <c:v>442</c:v>
                </c:pt>
                <c:pt idx="386">
                  <c:v>442</c:v>
                </c:pt>
                <c:pt idx="387">
                  <c:v>440</c:v>
                </c:pt>
                <c:pt idx="388">
                  <c:v>440</c:v>
                </c:pt>
                <c:pt idx="389">
                  <c:v>440</c:v>
                </c:pt>
                <c:pt idx="390">
                  <c:v>440</c:v>
                </c:pt>
                <c:pt idx="391">
                  <c:v>442</c:v>
                </c:pt>
                <c:pt idx="392">
                  <c:v>440</c:v>
                </c:pt>
                <c:pt idx="393">
                  <c:v>441</c:v>
                </c:pt>
                <c:pt idx="394">
                  <c:v>441</c:v>
                </c:pt>
                <c:pt idx="395">
                  <c:v>441</c:v>
                </c:pt>
                <c:pt idx="396">
                  <c:v>442</c:v>
                </c:pt>
                <c:pt idx="397">
                  <c:v>443</c:v>
                </c:pt>
                <c:pt idx="398">
                  <c:v>445</c:v>
                </c:pt>
                <c:pt idx="399">
                  <c:v>447</c:v>
                </c:pt>
                <c:pt idx="400">
                  <c:v>452</c:v>
                </c:pt>
                <c:pt idx="401">
                  <c:v>451</c:v>
                </c:pt>
                <c:pt idx="402">
                  <c:v>476</c:v>
                </c:pt>
                <c:pt idx="403">
                  <c:v>476</c:v>
                </c:pt>
                <c:pt idx="404">
                  <c:v>476</c:v>
                </c:pt>
                <c:pt idx="405">
                  <c:v>477</c:v>
                </c:pt>
                <c:pt idx="406">
                  <c:v>478</c:v>
                </c:pt>
                <c:pt idx="407">
                  <c:v>496</c:v>
                </c:pt>
                <c:pt idx="408">
                  <c:v>498</c:v>
                </c:pt>
                <c:pt idx="409">
                  <c:v>498</c:v>
                </c:pt>
                <c:pt idx="410">
                  <c:v>498</c:v>
                </c:pt>
                <c:pt idx="411">
                  <c:v>497</c:v>
                </c:pt>
                <c:pt idx="412">
                  <c:v>501</c:v>
                </c:pt>
                <c:pt idx="413">
                  <c:v>502</c:v>
                </c:pt>
                <c:pt idx="414">
                  <c:v>499</c:v>
                </c:pt>
                <c:pt idx="415">
                  <c:v>499</c:v>
                </c:pt>
                <c:pt idx="416">
                  <c:v>483</c:v>
                </c:pt>
                <c:pt idx="417">
                  <c:v>482</c:v>
                </c:pt>
                <c:pt idx="418">
                  <c:v>480</c:v>
                </c:pt>
                <c:pt idx="419">
                  <c:v>493</c:v>
                </c:pt>
                <c:pt idx="420">
                  <c:v>501</c:v>
                </c:pt>
                <c:pt idx="421">
                  <c:v>509</c:v>
                </c:pt>
                <c:pt idx="422">
                  <c:v>493</c:v>
                </c:pt>
                <c:pt idx="423">
                  <c:v>512</c:v>
                </c:pt>
                <c:pt idx="424">
                  <c:v>514</c:v>
                </c:pt>
                <c:pt idx="425">
                  <c:v>523</c:v>
                </c:pt>
                <c:pt idx="426">
                  <c:v>558</c:v>
                </c:pt>
                <c:pt idx="427">
                  <c:v>570</c:v>
                </c:pt>
                <c:pt idx="428">
                  <c:v>574</c:v>
                </c:pt>
                <c:pt idx="429">
                  <c:v>622</c:v>
                </c:pt>
                <c:pt idx="430">
                  <c:v>641</c:v>
                </c:pt>
                <c:pt idx="431">
                  <c:v>635</c:v>
                </c:pt>
                <c:pt idx="432">
                  <c:v>634</c:v>
                </c:pt>
                <c:pt idx="433">
                  <c:v>659</c:v>
                </c:pt>
                <c:pt idx="434">
                  <c:v>674</c:v>
                </c:pt>
                <c:pt idx="435">
                  <c:v>681</c:v>
                </c:pt>
                <c:pt idx="436">
                  <c:v>690</c:v>
                </c:pt>
                <c:pt idx="437">
                  <c:v>701</c:v>
                </c:pt>
                <c:pt idx="438">
                  <c:v>698</c:v>
                </c:pt>
                <c:pt idx="439">
                  <c:v>703</c:v>
                </c:pt>
                <c:pt idx="440">
                  <c:v>732</c:v>
                </c:pt>
                <c:pt idx="441">
                  <c:v>734</c:v>
                </c:pt>
                <c:pt idx="442">
                  <c:v>738</c:v>
                </c:pt>
                <c:pt idx="443">
                  <c:v>768</c:v>
                </c:pt>
                <c:pt idx="444">
                  <c:v>823</c:v>
                </c:pt>
                <c:pt idx="445">
                  <c:v>826</c:v>
                </c:pt>
                <c:pt idx="446">
                  <c:v>823</c:v>
                </c:pt>
                <c:pt idx="447">
                  <c:v>865</c:v>
                </c:pt>
                <c:pt idx="448">
                  <c:v>851</c:v>
                </c:pt>
                <c:pt idx="449">
                  <c:v>859</c:v>
                </c:pt>
                <c:pt idx="450">
                  <c:v>858</c:v>
                </c:pt>
                <c:pt idx="451">
                  <c:v>891</c:v>
                </c:pt>
                <c:pt idx="452">
                  <c:v>876</c:v>
                </c:pt>
                <c:pt idx="453">
                  <c:v>877</c:v>
                </c:pt>
                <c:pt idx="454">
                  <c:v>911</c:v>
                </c:pt>
                <c:pt idx="455">
                  <c:v>889</c:v>
                </c:pt>
                <c:pt idx="456">
                  <c:v>863</c:v>
                </c:pt>
                <c:pt idx="457">
                  <c:v>865</c:v>
                </c:pt>
                <c:pt idx="458">
                  <c:v>760</c:v>
                </c:pt>
                <c:pt idx="459">
                  <c:v>780</c:v>
                </c:pt>
                <c:pt idx="460">
                  <c:v>760</c:v>
                </c:pt>
                <c:pt idx="461">
                  <c:v>780</c:v>
                </c:pt>
                <c:pt idx="462">
                  <c:v>755</c:v>
                </c:pt>
                <c:pt idx="463">
                  <c:v>746</c:v>
                </c:pt>
                <c:pt idx="464">
                  <c:v>735</c:v>
                </c:pt>
                <c:pt idx="465">
                  <c:v>693</c:v>
                </c:pt>
                <c:pt idx="466">
                  <c:v>678</c:v>
                </c:pt>
                <c:pt idx="467">
                  <c:v>676</c:v>
                </c:pt>
                <c:pt idx="468">
                  <c:v>685</c:v>
                </c:pt>
                <c:pt idx="469">
                  <c:v>671</c:v>
                </c:pt>
                <c:pt idx="470">
                  <c:v>664</c:v>
                </c:pt>
                <c:pt idx="471">
                  <c:v>640</c:v>
                </c:pt>
                <c:pt idx="472">
                  <c:v>622</c:v>
                </c:pt>
                <c:pt idx="473">
                  <c:v>574</c:v>
                </c:pt>
                <c:pt idx="474">
                  <c:v>575</c:v>
                </c:pt>
                <c:pt idx="475">
                  <c:v>587</c:v>
                </c:pt>
                <c:pt idx="476">
                  <c:v>561</c:v>
                </c:pt>
                <c:pt idx="477">
                  <c:v>542</c:v>
                </c:pt>
                <c:pt idx="478">
                  <c:v>511</c:v>
                </c:pt>
                <c:pt idx="479">
                  <c:v>489</c:v>
                </c:pt>
                <c:pt idx="480">
                  <c:v>478</c:v>
                </c:pt>
                <c:pt idx="481">
                  <c:v>473</c:v>
                </c:pt>
                <c:pt idx="482">
                  <c:v>482</c:v>
                </c:pt>
                <c:pt idx="483">
                  <c:v>457</c:v>
                </c:pt>
                <c:pt idx="484">
                  <c:v>451</c:v>
                </c:pt>
                <c:pt idx="485">
                  <c:v>436</c:v>
                </c:pt>
                <c:pt idx="486">
                  <c:v>429</c:v>
                </c:pt>
                <c:pt idx="487">
                  <c:v>421</c:v>
                </c:pt>
                <c:pt idx="488">
                  <c:v>416</c:v>
                </c:pt>
                <c:pt idx="489">
                  <c:v>418</c:v>
                </c:pt>
                <c:pt idx="490">
                  <c:v>406</c:v>
                </c:pt>
                <c:pt idx="491">
                  <c:v>404</c:v>
                </c:pt>
                <c:pt idx="492">
                  <c:v>403</c:v>
                </c:pt>
                <c:pt idx="493">
                  <c:v>400</c:v>
                </c:pt>
                <c:pt idx="494">
                  <c:v>398</c:v>
                </c:pt>
                <c:pt idx="495">
                  <c:v>397</c:v>
                </c:pt>
                <c:pt idx="496">
                  <c:v>396</c:v>
                </c:pt>
                <c:pt idx="497">
                  <c:v>388</c:v>
                </c:pt>
                <c:pt idx="498">
                  <c:v>389</c:v>
                </c:pt>
                <c:pt idx="499">
                  <c:v>386</c:v>
                </c:pt>
                <c:pt idx="500">
                  <c:v>388</c:v>
                </c:pt>
                <c:pt idx="501">
                  <c:v>385</c:v>
                </c:pt>
                <c:pt idx="502">
                  <c:v>388</c:v>
                </c:pt>
                <c:pt idx="503">
                  <c:v>408</c:v>
                </c:pt>
                <c:pt idx="504">
                  <c:v>417</c:v>
                </c:pt>
                <c:pt idx="505">
                  <c:v>416</c:v>
                </c:pt>
                <c:pt idx="506">
                  <c:v>433</c:v>
                </c:pt>
                <c:pt idx="507">
                  <c:v>437</c:v>
                </c:pt>
                <c:pt idx="508">
                  <c:v>457</c:v>
                </c:pt>
                <c:pt idx="509">
                  <c:v>461</c:v>
                </c:pt>
                <c:pt idx="510">
                  <c:v>498</c:v>
                </c:pt>
                <c:pt idx="511">
                  <c:v>530</c:v>
                </c:pt>
                <c:pt idx="512">
                  <c:v>566</c:v>
                </c:pt>
                <c:pt idx="513">
                  <c:v>587</c:v>
                </c:pt>
                <c:pt idx="514">
                  <c:v>624</c:v>
                </c:pt>
                <c:pt idx="515">
                  <c:v>620</c:v>
                </c:pt>
                <c:pt idx="516">
                  <c:v>616</c:v>
                </c:pt>
                <c:pt idx="517">
                  <c:v>640</c:v>
                </c:pt>
                <c:pt idx="518">
                  <c:v>659</c:v>
                </c:pt>
                <c:pt idx="519">
                  <c:v>682</c:v>
                </c:pt>
                <c:pt idx="520">
                  <c:v>694</c:v>
                </c:pt>
                <c:pt idx="521">
                  <c:v>714</c:v>
                </c:pt>
                <c:pt idx="522">
                  <c:v>679</c:v>
                </c:pt>
                <c:pt idx="523">
                  <c:v>655</c:v>
                </c:pt>
                <c:pt idx="524">
                  <c:v>689</c:v>
                </c:pt>
                <c:pt idx="525">
                  <c:v>688</c:v>
                </c:pt>
                <c:pt idx="526">
                  <c:v>706</c:v>
                </c:pt>
                <c:pt idx="527">
                  <c:v>739</c:v>
                </c:pt>
                <c:pt idx="528">
                  <c:v>756</c:v>
                </c:pt>
                <c:pt idx="529">
                  <c:v>705</c:v>
                </c:pt>
                <c:pt idx="530">
                  <c:v>683</c:v>
                </c:pt>
                <c:pt idx="531">
                  <c:v>706</c:v>
                </c:pt>
                <c:pt idx="532">
                  <c:v>695</c:v>
                </c:pt>
                <c:pt idx="533">
                  <c:v>733</c:v>
                </c:pt>
                <c:pt idx="534">
                  <c:v>793</c:v>
                </c:pt>
                <c:pt idx="535">
                  <c:v>744</c:v>
                </c:pt>
                <c:pt idx="536">
                  <c:v>679</c:v>
                </c:pt>
                <c:pt idx="537">
                  <c:v>666</c:v>
                </c:pt>
                <c:pt idx="538">
                  <c:v>636</c:v>
                </c:pt>
                <c:pt idx="539">
                  <c:v>608</c:v>
                </c:pt>
                <c:pt idx="540">
                  <c:v>637</c:v>
                </c:pt>
                <c:pt idx="541">
                  <c:v>647</c:v>
                </c:pt>
                <c:pt idx="542">
                  <c:v>605</c:v>
                </c:pt>
                <c:pt idx="543">
                  <c:v>562</c:v>
                </c:pt>
                <c:pt idx="544">
                  <c:v>468</c:v>
                </c:pt>
                <c:pt idx="545">
                  <c:v>441</c:v>
                </c:pt>
                <c:pt idx="546">
                  <c:v>430</c:v>
                </c:pt>
                <c:pt idx="547">
                  <c:v>450</c:v>
                </c:pt>
                <c:pt idx="548">
                  <c:v>455</c:v>
                </c:pt>
                <c:pt idx="549">
                  <c:v>431</c:v>
                </c:pt>
                <c:pt idx="550">
                  <c:v>371</c:v>
                </c:pt>
                <c:pt idx="551">
                  <c:v>345</c:v>
                </c:pt>
                <c:pt idx="552">
                  <c:v>325</c:v>
                </c:pt>
                <c:pt idx="553">
                  <c:v>352</c:v>
                </c:pt>
                <c:pt idx="554">
                  <c:v>352</c:v>
                </c:pt>
                <c:pt idx="555">
                  <c:v>369</c:v>
                </c:pt>
                <c:pt idx="556">
                  <c:v>315</c:v>
                </c:pt>
                <c:pt idx="557">
                  <c:v>276</c:v>
                </c:pt>
                <c:pt idx="558">
                  <c:v>256</c:v>
                </c:pt>
                <c:pt idx="559">
                  <c:v>254</c:v>
                </c:pt>
                <c:pt idx="560">
                  <c:v>248</c:v>
                </c:pt>
                <c:pt idx="561">
                  <c:v>258</c:v>
                </c:pt>
                <c:pt idx="562">
                  <c:v>276</c:v>
                </c:pt>
                <c:pt idx="563">
                  <c:v>264</c:v>
                </c:pt>
                <c:pt idx="564">
                  <c:v>196</c:v>
                </c:pt>
                <c:pt idx="565">
                  <c:v>174</c:v>
                </c:pt>
                <c:pt idx="566">
                  <c:v>181</c:v>
                </c:pt>
                <c:pt idx="567">
                  <c:v>182</c:v>
                </c:pt>
                <c:pt idx="568">
                  <c:v>191</c:v>
                </c:pt>
                <c:pt idx="569">
                  <c:v>209</c:v>
                </c:pt>
                <c:pt idx="570">
                  <c:v>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C$2:$C$572</c:f>
              <c:numCache>
                <c:formatCode>General</c:formatCode>
                <c:ptCount val="571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4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9</c:v>
                </c:pt>
                <c:pt idx="29">
                  <c:v>61</c:v>
                </c:pt>
                <c:pt idx="30">
                  <c:v>89</c:v>
                </c:pt>
                <c:pt idx="31">
                  <c:v>181</c:v>
                </c:pt>
                <c:pt idx="32">
                  <c:v>205</c:v>
                </c:pt>
                <c:pt idx="33">
                  <c:v>219</c:v>
                </c:pt>
                <c:pt idx="34">
                  <c:v>317</c:v>
                </c:pt>
                <c:pt idx="35">
                  <c:v>356</c:v>
                </c:pt>
                <c:pt idx="36">
                  <c:v>383</c:v>
                </c:pt>
                <c:pt idx="37">
                  <c:v>466</c:v>
                </c:pt>
                <c:pt idx="38">
                  <c:v>553</c:v>
                </c:pt>
                <c:pt idx="39">
                  <c:v>589</c:v>
                </c:pt>
                <c:pt idx="40">
                  <c:v>603</c:v>
                </c:pt>
                <c:pt idx="41">
                  <c:v>746</c:v>
                </c:pt>
                <c:pt idx="42">
                  <c:v>873</c:v>
                </c:pt>
                <c:pt idx="43">
                  <c:v>1046</c:v>
                </c:pt>
                <c:pt idx="44">
                  <c:v>1229</c:v>
                </c:pt>
                <c:pt idx="45">
                  <c:v>1400</c:v>
                </c:pt>
                <c:pt idx="46">
                  <c:v>1470</c:v>
                </c:pt>
                <c:pt idx="47">
                  <c:v>1465</c:v>
                </c:pt>
                <c:pt idx="48">
                  <c:v>1616</c:v>
                </c:pt>
                <c:pt idx="49">
                  <c:v>1764</c:v>
                </c:pt>
                <c:pt idx="50">
                  <c:v>1998</c:v>
                </c:pt>
                <c:pt idx="51">
                  <c:v>2160</c:v>
                </c:pt>
                <c:pt idx="52">
                  <c:v>2435</c:v>
                </c:pt>
                <c:pt idx="53">
                  <c:v>2505</c:v>
                </c:pt>
                <c:pt idx="54">
                  <c:v>2473</c:v>
                </c:pt>
                <c:pt idx="55">
                  <c:v>2647</c:v>
                </c:pt>
                <c:pt idx="56">
                  <c:v>2839</c:v>
                </c:pt>
                <c:pt idx="57">
                  <c:v>2854</c:v>
                </c:pt>
                <c:pt idx="58">
                  <c:v>3267</c:v>
                </c:pt>
                <c:pt idx="59">
                  <c:v>3414</c:v>
                </c:pt>
                <c:pt idx="60">
                  <c:v>3327</c:v>
                </c:pt>
                <c:pt idx="61">
                  <c:v>3170</c:v>
                </c:pt>
                <c:pt idx="62">
                  <c:v>3204</c:v>
                </c:pt>
                <c:pt idx="63">
                  <c:v>3139</c:v>
                </c:pt>
                <c:pt idx="64">
                  <c:v>3338</c:v>
                </c:pt>
                <c:pt idx="65">
                  <c:v>3522</c:v>
                </c:pt>
                <c:pt idx="66">
                  <c:v>3341</c:v>
                </c:pt>
                <c:pt idx="67">
                  <c:v>3093</c:v>
                </c:pt>
                <c:pt idx="68">
                  <c:v>2993</c:v>
                </c:pt>
                <c:pt idx="69">
                  <c:v>2850</c:v>
                </c:pt>
                <c:pt idx="70">
                  <c:v>2712</c:v>
                </c:pt>
                <c:pt idx="71">
                  <c:v>2845</c:v>
                </c:pt>
                <c:pt idx="72">
                  <c:v>2981</c:v>
                </c:pt>
                <c:pt idx="73">
                  <c:v>2886</c:v>
                </c:pt>
                <c:pt idx="74">
                  <c:v>2685</c:v>
                </c:pt>
                <c:pt idx="75">
                  <c:v>2444</c:v>
                </c:pt>
                <c:pt idx="76">
                  <c:v>2422</c:v>
                </c:pt>
                <c:pt idx="77">
                  <c:v>2270</c:v>
                </c:pt>
                <c:pt idx="78">
                  <c:v>2374</c:v>
                </c:pt>
                <c:pt idx="79">
                  <c:v>2456</c:v>
                </c:pt>
                <c:pt idx="80">
                  <c:v>2407</c:v>
                </c:pt>
                <c:pt idx="81">
                  <c:v>2152</c:v>
                </c:pt>
                <c:pt idx="82">
                  <c:v>1968</c:v>
                </c:pt>
                <c:pt idx="83">
                  <c:v>1956</c:v>
                </c:pt>
                <c:pt idx="84">
                  <c:v>1898</c:v>
                </c:pt>
                <c:pt idx="85">
                  <c:v>1924</c:v>
                </c:pt>
                <c:pt idx="86">
                  <c:v>1952</c:v>
                </c:pt>
                <c:pt idx="87">
                  <c:v>1908</c:v>
                </c:pt>
                <c:pt idx="88">
                  <c:v>1869</c:v>
                </c:pt>
                <c:pt idx="89">
                  <c:v>1724</c:v>
                </c:pt>
                <c:pt idx="90">
                  <c:v>1708</c:v>
                </c:pt>
                <c:pt idx="91">
                  <c:v>1704</c:v>
                </c:pt>
                <c:pt idx="92">
                  <c:v>1759</c:v>
                </c:pt>
                <c:pt idx="93">
                  <c:v>1802</c:v>
                </c:pt>
                <c:pt idx="94">
                  <c:v>1739</c:v>
                </c:pt>
                <c:pt idx="95">
                  <c:v>1678</c:v>
                </c:pt>
                <c:pt idx="96">
                  <c:v>1607</c:v>
                </c:pt>
                <c:pt idx="97">
                  <c:v>1668</c:v>
                </c:pt>
                <c:pt idx="98">
                  <c:v>1660</c:v>
                </c:pt>
                <c:pt idx="99">
                  <c:v>1701</c:v>
                </c:pt>
                <c:pt idx="100">
                  <c:v>1751</c:v>
                </c:pt>
                <c:pt idx="101">
                  <c:v>1732</c:v>
                </c:pt>
                <c:pt idx="102">
                  <c:v>1660</c:v>
                </c:pt>
                <c:pt idx="103">
                  <c:v>1621</c:v>
                </c:pt>
                <c:pt idx="104">
                  <c:v>1668</c:v>
                </c:pt>
                <c:pt idx="105">
                  <c:v>1673</c:v>
                </c:pt>
                <c:pt idx="106">
                  <c:v>1744</c:v>
                </c:pt>
                <c:pt idx="107">
                  <c:v>1782</c:v>
                </c:pt>
                <c:pt idx="108">
                  <c:v>1738</c:v>
                </c:pt>
                <c:pt idx="109">
                  <c:v>1688</c:v>
                </c:pt>
                <c:pt idx="110">
                  <c:v>1639</c:v>
                </c:pt>
                <c:pt idx="111">
                  <c:v>1749</c:v>
                </c:pt>
                <c:pt idx="112">
                  <c:v>1800</c:v>
                </c:pt>
                <c:pt idx="113">
                  <c:v>1899</c:v>
                </c:pt>
                <c:pt idx="114">
                  <c:v>1919</c:v>
                </c:pt>
                <c:pt idx="115">
                  <c:v>1870</c:v>
                </c:pt>
                <c:pt idx="116">
                  <c:v>1829</c:v>
                </c:pt>
                <c:pt idx="117">
                  <c:v>1799</c:v>
                </c:pt>
                <c:pt idx="118">
                  <c:v>1914</c:v>
                </c:pt>
                <c:pt idx="119">
                  <c:v>2001</c:v>
                </c:pt>
                <c:pt idx="120">
                  <c:v>2079</c:v>
                </c:pt>
                <c:pt idx="121">
                  <c:v>2156</c:v>
                </c:pt>
                <c:pt idx="122">
                  <c:v>2063</c:v>
                </c:pt>
                <c:pt idx="123">
                  <c:v>1997</c:v>
                </c:pt>
                <c:pt idx="124">
                  <c:v>1930</c:v>
                </c:pt>
                <c:pt idx="125">
                  <c:v>2224</c:v>
                </c:pt>
                <c:pt idx="126">
                  <c:v>2351</c:v>
                </c:pt>
                <c:pt idx="127">
                  <c:v>2437</c:v>
                </c:pt>
                <c:pt idx="128">
                  <c:v>2506</c:v>
                </c:pt>
                <c:pt idx="129">
                  <c:v>2420</c:v>
                </c:pt>
                <c:pt idx="130">
                  <c:v>2320</c:v>
                </c:pt>
                <c:pt idx="131">
                  <c:v>2199</c:v>
                </c:pt>
                <c:pt idx="132">
                  <c:v>2363</c:v>
                </c:pt>
                <c:pt idx="133">
                  <c:v>2451</c:v>
                </c:pt>
                <c:pt idx="134">
                  <c:v>2529</c:v>
                </c:pt>
                <c:pt idx="135">
                  <c:v>2536</c:v>
                </c:pt>
                <c:pt idx="136">
                  <c:v>2397</c:v>
                </c:pt>
                <c:pt idx="137">
                  <c:v>2257</c:v>
                </c:pt>
                <c:pt idx="138">
                  <c:v>2148</c:v>
                </c:pt>
                <c:pt idx="139">
                  <c:v>2150</c:v>
                </c:pt>
                <c:pt idx="140">
                  <c:v>2102</c:v>
                </c:pt>
                <c:pt idx="141">
                  <c:v>2137</c:v>
                </c:pt>
                <c:pt idx="142">
                  <c:v>2175</c:v>
                </c:pt>
                <c:pt idx="143">
                  <c:v>2083</c:v>
                </c:pt>
                <c:pt idx="144">
                  <c:v>2009</c:v>
                </c:pt>
                <c:pt idx="145">
                  <c:v>1900</c:v>
                </c:pt>
                <c:pt idx="146">
                  <c:v>1914</c:v>
                </c:pt>
                <c:pt idx="147">
                  <c:v>1921</c:v>
                </c:pt>
                <c:pt idx="148">
                  <c:v>1948</c:v>
                </c:pt>
                <c:pt idx="149">
                  <c:v>1963</c:v>
                </c:pt>
                <c:pt idx="150">
                  <c:v>1885</c:v>
                </c:pt>
                <c:pt idx="151">
                  <c:v>1817</c:v>
                </c:pt>
                <c:pt idx="152">
                  <c:v>1744</c:v>
                </c:pt>
                <c:pt idx="153">
                  <c:v>1766</c:v>
                </c:pt>
                <c:pt idx="154">
                  <c:v>1765</c:v>
                </c:pt>
                <c:pt idx="155">
                  <c:v>1805</c:v>
                </c:pt>
                <c:pt idx="156">
                  <c:v>1832</c:v>
                </c:pt>
                <c:pt idx="157">
                  <c:v>1780</c:v>
                </c:pt>
                <c:pt idx="158">
                  <c:v>1710</c:v>
                </c:pt>
                <c:pt idx="159">
                  <c:v>1665</c:v>
                </c:pt>
                <c:pt idx="160">
                  <c:v>1692</c:v>
                </c:pt>
                <c:pt idx="161">
                  <c:v>1661</c:v>
                </c:pt>
                <c:pt idx="162">
                  <c:v>1678</c:v>
                </c:pt>
                <c:pt idx="163">
                  <c:v>1707</c:v>
                </c:pt>
                <c:pt idx="164">
                  <c:v>1669</c:v>
                </c:pt>
                <c:pt idx="165">
                  <c:v>1610</c:v>
                </c:pt>
                <c:pt idx="166">
                  <c:v>1568</c:v>
                </c:pt>
                <c:pt idx="167">
                  <c:v>1591</c:v>
                </c:pt>
                <c:pt idx="168">
                  <c:v>1583</c:v>
                </c:pt>
                <c:pt idx="169">
                  <c:v>1603</c:v>
                </c:pt>
                <c:pt idx="170">
                  <c:v>1625</c:v>
                </c:pt>
                <c:pt idx="171">
                  <c:v>1606</c:v>
                </c:pt>
                <c:pt idx="172">
                  <c:v>1567</c:v>
                </c:pt>
                <c:pt idx="173">
                  <c:v>1544</c:v>
                </c:pt>
                <c:pt idx="174">
                  <c:v>1582</c:v>
                </c:pt>
                <c:pt idx="175">
                  <c:v>1600</c:v>
                </c:pt>
                <c:pt idx="176">
                  <c:v>1619</c:v>
                </c:pt>
                <c:pt idx="177">
                  <c:v>1648</c:v>
                </c:pt>
                <c:pt idx="178">
                  <c:v>1633</c:v>
                </c:pt>
                <c:pt idx="179">
                  <c:v>1584</c:v>
                </c:pt>
                <c:pt idx="180">
                  <c:v>1548</c:v>
                </c:pt>
                <c:pt idx="181">
                  <c:v>1580</c:v>
                </c:pt>
                <c:pt idx="182">
                  <c:v>1575</c:v>
                </c:pt>
                <c:pt idx="183">
                  <c:v>1618</c:v>
                </c:pt>
                <c:pt idx="184">
                  <c:v>1654</c:v>
                </c:pt>
                <c:pt idx="185">
                  <c:v>1605</c:v>
                </c:pt>
                <c:pt idx="186">
                  <c:v>1554</c:v>
                </c:pt>
                <c:pt idx="187">
                  <c:v>1526</c:v>
                </c:pt>
                <c:pt idx="188">
                  <c:v>1549</c:v>
                </c:pt>
                <c:pt idx="189">
                  <c:v>1539</c:v>
                </c:pt>
                <c:pt idx="190">
                  <c:v>1560</c:v>
                </c:pt>
                <c:pt idx="191">
                  <c:v>1578</c:v>
                </c:pt>
                <c:pt idx="192">
                  <c:v>1596</c:v>
                </c:pt>
                <c:pt idx="193">
                  <c:v>1607</c:v>
                </c:pt>
                <c:pt idx="194">
                  <c:v>1613</c:v>
                </c:pt>
                <c:pt idx="195">
                  <c:v>1655</c:v>
                </c:pt>
                <c:pt idx="196">
                  <c:v>1620</c:v>
                </c:pt>
                <c:pt idx="197">
                  <c:v>1597</c:v>
                </c:pt>
                <c:pt idx="198">
                  <c:v>1556</c:v>
                </c:pt>
                <c:pt idx="199">
                  <c:v>1541</c:v>
                </c:pt>
                <c:pt idx="200">
                  <c:v>1504</c:v>
                </c:pt>
                <c:pt idx="201">
                  <c:v>1499</c:v>
                </c:pt>
                <c:pt idx="202">
                  <c:v>1531</c:v>
                </c:pt>
                <c:pt idx="203">
                  <c:v>1484</c:v>
                </c:pt>
                <c:pt idx="204">
                  <c:v>1459</c:v>
                </c:pt>
                <c:pt idx="205">
                  <c:v>1433</c:v>
                </c:pt>
                <c:pt idx="206">
                  <c:v>1422</c:v>
                </c:pt>
                <c:pt idx="207">
                  <c:v>1397</c:v>
                </c:pt>
                <c:pt idx="208">
                  <c:v>1391</c:v>
                </c:pt>
                <c:pt idx="209">
                  <c:v>1404</c:v>
                </c:pt>
                <c:pt idx="210">
                  <c:v>1394</c:v>
                </c:pt>
                <c:pt idx="211">
                  <c:v>1363</c:v>
                </c:pt>
                <c:pt idx="212">
                  <c:v>1353</c:v>
                </c:pt>
                <c:pt idx="213">
                  <c:v>1330</c:v>
                </c:pt>
                <c:pt idx="214">
                  <c:v>1314</c:v>
                </c:pt>
                <c:pt idx="215">
                  <c:v>1312</c:v>
                </c:pt>
                <c:pt idx="216">
                  <c:v>1318</c:v>
                </c:pt>
                <c:pt idx="217">
                  <c:v>1301</c:v>
                </c:pt>
                <c:pt idx="218">
                  <c:v>1294</c:v>
                </c:pt>
                <c:pt idx="219">
                  <c:v>1293</c:v>
                </c:pt>
                <c:pt idx="220">
                  <c:v>1287</c:v>
                </c:pt>
                <c:pt idx="221">
                  <c:v>1274</c:v>
                </c:pt>
                <c:pt idx="222">
                  <c:v>1270</c:v>
                </c:pt>
                <c:pt idx="223">
                  <c:v>1276</c:v>
                </c:pt>
                <c:pt idx="224">
                  <c:v>1254</c:v>
                </c:pt>
                <c:pt idx="225">
                  <c:v>1246</c:v>
                </c:pt>
                <c:pt idx="226">
                  <c:v>1240</c:v>
                </c:pt>
                <c:pt idx="227">
                  <c:v>1236</c:v>
                </c:pt>
                <c:pt idx="228">
                  <c:v>1235</c:v>
                </c:pt>
                <c:pt idx="229">
                  <c:v>1232</c:v>
                </c:pt>
                <c:pt idx="230">
                  <c:v>1243</c:v>
                </c:pt>
                <c:pt idx="231">
                  <c:v>1240</c:v>
                </c:pt>
                <c:pt idx="232">
                  <c:v>1218</c:v>
                </c:pt>
                <c:pt idx="233">
                  <c:v>1199</c:v>
                </c:pt>
                <c:pt idx="234">
                  <c:v>1191</c:v>
                </c:pt>
                <c:pt idx="235">
                  <c:v>1184</c:v>
                </c:pt>
                <c:pt idx="236">
                  <c:v>1182</c:v>
                </c:pt>
                <c:pt idx="237">
                  <c:v>1188</c:v>
                </c:pt>
                <c:pt idx="238">
                  <c:v>1186</c:v>
                </c:pt>
                <c:pt idx="239">
                  <c:v>1181</c:v>
                </c:pt>
                <c:pt idx="240">
                  <c:v>1178</c:v>
                </c:pt>
                <c:pt idx="241">
                  <c:v>1175</c:v>
                </c:pt>
                <c:pt idx="242">
                  <c:v>1172</c:v>
                </c:pt>
                <c:pt idx="243">
                  <c:v>1171</c:v>
                </c:pt>
                <c:pt idx="244">
                  <c:v>1174</c:v>
                </c:pt>
                <c:pt idx="245">
                  <c:v>1163</c:v>
                </c:pt>
                <c:pt idx="246">
                  <c:v>1159</c:v>
                </c:pt>
                <c:pt idx="247">
                  <c:v>1160</c:v>
                </c:pt>
                <c:pt idx="248">
                  <c:v>1159</c:v>
                </c:pt>
                <c:pt idx="249">
                  <c:v>1155</c:v>
                </c:pt>
                <c:pt idx="250">
                  <c:v>1152</c:v>
                </c:pt>
                <c:pt idx="251">
                  <c:v>1155</c:v>
                </c:pt>
                <c:pt idx="252">
                  <c:v>1151</c:v>
                </c:pt>
                <c:pt idx="253">
                  <c:v>1147</c:v>
                </c:pt>
                <c:pt idx="254">
                  <c:v>1147</c:v>
                </c:pt>
                <c:pt idx="255">
                  <c:v>1147</c:v>
                </c:pt>
                <c:pt idx="256">
                  <c:v>1143</c:v>
                </c:pt>
                <c:pt idx="257">
                  <c:v>1143</c:v>
                </c:pt>
                <c:pt idx="258">
                  <c:v>1146</c:v>
                </c:pt>
                <c:pt idx="259">
                  <c:v>1148</c:v>
                </c:pt>
                <c:pt idx="260">
                  <c:v>1145</c:v>
                </c:pt>
                <c:pt idx="261">
                  <c:v>1147</c:v>
                </c:pt>
                <c:pt idx="262">
                  <c:v>1147</c:v>
                </c:pt>
                <c:pt idx="263">
                  <c:v>1144</c:v>
                </c:pt>
                <c:pt idx="264">
                  <c:v>1144</c:v>
                </c:pt>
                <c:pt idx="265">
                  <c:v>1146</c:v>
                </c:pt>
                <c:pt idx="266">
                  <c:v>1144</c:v>
                </c:pt>
                <c:pt idx="267">
                  <c:v>1141</c:v>
                </c:pt>
                <c:pt idx="268">
                  <c:v>1141</c:v>
                </c:pt>
                <c:pt idx="269">
                  <c:v>1139</c:v>
                </c:pt>
                <c:pt idx="270">
                  <c:v>1137</c:v>
                </c:pt>
                <c:pt idx="271">
                  <c:v>1137</c:v>
                </c:pt>
                <c:pt idx="272">
                  <c:v>1137</c:v>
                </c:pt>
                <c:pt idx="273">
                  <c:v>1134</c:v>
                </c:pt>
                <c:pt idx="274">
                  <c:v>1131</c:v>
                </c:pt>
                <c:pt idx="275">
                  <c:v>1131</c:v>
                </c:pt>
                <c:pt idx="276">
                  <c:v>1130</c:v>
                </c:pt>
                <c:pt idx="277">
                  <c:v>1130</c:v>
                </c:pt>
                <c:pt idx="278">
                  <c:v>1130</c:v>
                </c:pt>
                <c:pt idx="279">
                  <c:v>1129</c:v>
                </c:pt>
                <c:pt idx="280">
                  <c:v>1127</c:v>
                </c:pt>
                <c:pt idx="281">
                  <c:v>1125</c:v>
                </c:pt>
                <c:pt idx="282">
                  <c:v>1125</c:v>
                </c:pt>
                <c:pt idx="283">
                  <c:v>1125</c:v>
                </c:pt>
                <c:pt idx="284">
                  <c:v>1125</c:v>
                </c:pt>
                <c:pt idx="285">
                  <c:v>1125</c:v>
                </c:pt>
                <c:pt idx="286">
                  <c:v>1125</c:v>
                </c:pt>
                <c:pt idx="287">
                  <c:v>1125</c:v>
                </c:pt>
                <c:pt idx="288">
                  <c:v>1125</c:v>
                </c:pt>
                <c:pt idx="289">
                  <c:v>1124</c:v>
                </c:pt>
                <c:pt idx="290">
                  <c:v>1124</c:v>
                </c:pt>
                <c:pt idx="291">
                  <c:v>1124</c:v>
                </c:pt>
                <c:pt idx="292">
                  <c:v>1124</c:v>
                </c:pt>
                <c:pt idx="293">
                  <c:v>1124</c:v>
                </c:pt>
                <c:pt idx="294">
                  <c:v>1124</c:v>
                </c:pt>
                <c:pt idx="295">
                  <c:v>1124</c:v>
                </c:pt>
                <c:pt idx="296">
                  <c:v>1125</c:v>
                </c:pt>
                <c:pt idx="297">
                  <c:v>1125</c:v>
                </c:pt>
                <c:pt idx="298">
                  <c:v>1125</c:v>
                </c:pt>
                <c:pt idx="299">
                  <c:v>1125</c:v>
                </c:pt>
                <c:pt idx="300">
                  <c:v>1126</c:v>
                </c:pt>
                <c:pt idx="301">
                  <c:v>1126</c:v>
                </c:pt>
                <c:pt idx="302">
                  <c:v>1127</c:v>
                </c:pt>
                <c:pt idx="303">
                  <c:v>1127</c:v>
                </c:pt>
                <c:pt idx="304">
                  <c:v>1127</c:v>
                </c:pt>
                <c:pt idx="305">
                  <c:v>1127</c:v>
                </c:pt>
                <c:pt idx="306">
                  <c:v>1127</c:v>
                </c:pt>
                <c:pt idx="307">
                  <c:v>1127</c:v>
                </c:pt>
                <c:pt idx="308">
                  <c:v>1127</c:v>
                </c:pt>
                <c:pt idx="309">
                  <c:v>1128</c:v>
                </c:pt>
                <c:pt idx="310">
                  <c:v>1129</c:v>
                </c:pt>
                <c:pt idx="311">
                  <c:v>1129</c:v>
                </c:pt>
                <c:pt idx="312">
                  <c:v>1129</c:v>
                </c:pt>
                <c:pt idx="313">
                  <c:v>1130</c:v>
                </c:pt>
                <c:pt idx="314">
                  <c:v>1130</c:v>
                </c:pt>
                <c:pt idx="315">
                  <c:v>1130</c:v>
                </c:pt>
                <c:pt idx="316">
                  <c:v>1130</c:v>
                </c:pt>
                <c:pt idx="317">
                  <c:v>1130</c:v>
                </c:pt>
                <c:pt idx="318">
                  <c:v>1129</c:v>
                </c:pt>
                <c:pt idx="319">
                  <c:v>1129</c:v>
                </c:pt>
                <c:pt idx="320">
                  <c:v>1129</c:v>
                </c:pt>
                <c:pt idx="321">
                  <c:v>1129</c:v>
                </c:pt>
                <c:pt idx="322">
                  <c:v>1129</c:v>
                </c:pt>
                <c:pt idx="323">
                  <c:v>1130</c:v>
                </c:pt>
                <c:pt idx="324">
                  <c:v>1129</c:v>
                </c:pt>
                <c:pt idx="325">
                  <c:v>1129</c:v>
                </c:pt>
                <c:pt idx="326">
                  <c:v>1128</c:v>
                </c:pt>
                <c:pt idx="327">
                  <c:v>1128</c:v>
                </c:pt>
                <c:pt idx="328">
                  <c:v>1127</c:v>
                </c:pt>
                <c:pt idx="329">
                  <c:v>1128</c:v>
                </c:pt>
                <c:pt idx="330">
                  <c:v>1129</c:v>
                </c:pt>
                <c:pt idx="331">
                  <c:v>1129</c:v>
                </c:pt>
                <c:pt idx="332">
                  <c:v>1129</c:v>
                </c:pt>
                <c:pt idx="333">
                  <c:v>1129</c:v>
                </c:pt>
                <c:pt idx="334">
                  <c:v>1129</c:v>
                </c:pt>
                <c:pt idx="335">
                  <c:v>1129</c:v>
                </c:pt>
                <c:pt idx="336">
                  <c:v>1129</c:v>
                </c:pt>
                <c:pt idx="337">
                  <c:v>1129</c:v>
                </c:pt>
                <c:pt idx="338">
                  <c:v>1128</c:v>
                </c:pt>
                <c:pt idx="339">
                  <c:v>1128</c:v>
                </c:pt>
                <c:pt idx="340">
                  <c:v>1128</c:v>
                </c:pt>
                <c:pt idx="341">
                  <c:v>1129</c:v>
                </c:pt>
                <c:pt idx="342">
                  <c:v>1129</c:v>
                </c:pt>
                <c:pt idx="343">
                  <c:v>1128</c:v>
                </c:pt>
                <c:pt idx="344">
                  <c:v>1128</c:v>
                </c:pt>
                <c:pt idx="345">
                  <c:v>1128</c:v>
                </c:pt>
                <c:pt idx="346">
                  <c:v>1128</c:v>
                </c:pt>
                <c:pt idx="347">
                  <c:v>1128</c:v>
                </c:pt>
                <c:pt idx="348">
                  <c:v>1129</c:v>
                </c:pt>
                <c:pt idx="349">
                  <c:v>1129</c:v>
                </c:pt>
                <c:pt idx="350">
                  <c:v>1128</c:v>
                </c:pt>
                <c:pt idx="351">
                  <c:v>1128</c:v>
                </c:pt>
                <c:pt idx="352">
                  <c:v>1128</c:v>
                </c:pt>
                <c:pt idx="353">
                  <c:v>1128</c:v>
                </c:pt>
                <c:pt idx="354">
                  <c:v>1128</c:v>
                </c:pt>
                <c:pt idx="355">
                  <c:v>1128</c:v>
                </c:pt>
                <c:pt idx="356">
                  <c:v>1129</c:v>
                </c:pt>
                <c:pt idx="357">
                  <c:v>1129</c:v>
                </c:pt>
                <c:pt idx="358">
                  <c:v>1129</c:v>
                </c:pt>
                <c:pt idx="359">
                  <c:v>1129</c:v>
                </c:pt>
                <c:pt idx="360">
                  <c:v>1130</c:v>
                </c:pt>
                <c:pt idx="361">
                  <c:v>1130</c:v>
                </c:pt>
                <c:pt idx="362">
                  <c:v>1131</c:v>
                </c:pt>
                <c:pt idx="363">
                  <c:v>1130</c:v>
                </c:pt>
                <c:pt idx="364">
                  <c:v>1130</c:v>
                </c:pt>
                <c:pt idx="365">
                  <c:v>1135</c:v>
                </c:pt>
                <c:pt idx="366">
                  <c:v>1136</c:v>
                </c:pt>
                <c:pt idx="367">
                  <c:v>1137</c:v>
                </c:pt>
                <c:pt idx="368">
                  <c:v>1137</c:v>
                </c:pt>
                <c:pt idx="369">
                  <c:v>1137</c:v>
                </c:pt>
                <c:pt idx="370">
                  <c:v>1138</c:v>
                </c:pt>
                <c:pt idx="371">
                  <c:v>1139</c:v>
                </c:pt>
                <c:pt idx="372">
                  <c:v>1140</c:v>
                </c:pt>
                <c:pt idx="373">
                  <c:v>1141</c:v>
                </c:pt>
                <c:pt idx="374">
                  <c:v>1142</c:v>
                </c:pt>
                <c:pt idx="375">
                  <c:v>1141</c:v>
                </c:pt>
                <c:pt idx="376">
                  <c:v>1140</c:v>
                </c:pt>
                <c:pt idx="377">
                  <c:v>1140</c:v>
                </c:pt>
                <c:pt idx="378">
                  <c:v>1141</c:v>
                </c:pt>
                <c:pt idx="379">
                  <c:v>1140</c:v>
                </c:pt>
                <c:pt idx="380">
                  <c:v>1140</c:v>
                </c:pt>
                <c:pt idx="381">
                  <c:v>1139</c:v>
                </c:pt>
                <c:pt idx="382">
                  <c:v>1137</c:v>
                </c:pt>
                <c:pt idx="383">
                  <c:v>1137</c:v>
                </c:pt>
                <c:pt idx="384">
                  <c:v>1141</c:v>
                </c:pt>
                <c:pt idx="385">
                  <c:v>1144</c:v>
                </c:pt>
                <c:pt idx="386">
                  <c:v>1144</c:v>
                </c:pt>
                <c:pt idx="387">
                  <c:v>1144</c:v>
                </c:pt>
                <c:pt idx="388">
                  <c:v>1144</c:v>
                </c:pt>
                <c:pt idx="389">
                  <c:v>1145</c:v>
                </c:pt>
                <c:pt idx="390">
                  <c:v>1146</c:v>
                </c:pt>
                <c:pt idx="391">
                  <c:v>1149</c:v>
                </c:pt>
                <c:pt idx="392">
                  <c:v>1150</c:v>
                </c:pt>
                <c:pt idx="393">
                  <c:v>1154</c:v>
                </c:pt>
                <c:pt idx="394">
                  <c:v>1154</c:v>
                </c:pt>
                <c:pt idx="395">
                  <c:v>1155</c:v>
                </c:pt>
                <c:pt idx="396">
                  <c:v>1154</c:v>
                </c:pt>
                <c:pt idx="397">
                  <c:v>1153</c:v>
                </c:pt>
                <c:pt idx="398">
                  <c:v>1156</c:v>
                </c:pt>
                <c:pt idx="399">
                  <c:v>1158</c:v>
                </c:pt>
                <c:pt idx="400">
                  <c:v>1158</c:v>
                </c:pt>
                <c:pt idx="401">
                  <c:v>1159</c:v>
                </c:pt>
                <c:pt idx="402">
                  <c:v>1160</c:v>
                </c:pt>
                <c:pt idx="403">
                  <c:v>1161</c:v>
                </c:pt>
                <c:pt idx="404">
                  <c:v>1159</c:v>
                </c:pt>
                <c:pt idx="405">
                  <c:v>1161</c:v>
                </c:pt>
                <c:pt idx="406">
                  <c:v>1158</c:v>
                </c:pt>
                <c:pt idx="407">
                  <c:v>1159</c:v>
                </c:pt>
                <c:pt idx="408">
                  <c:v>1157</c:v>
                </c:pt>
                <c:pt idx="409">
                  <c:v>1164</c:v>
                </c:pt>
                <c:pt idx="410">
                  <c:v>1163</c:v>
                </c:pt>
                <c:pt idx="411">
                  <c:v>1164</c:v>
                </c:pt>
                <c:pt idx="412">
                  <c:v>1176</c:v>
                </c:pt>
                <c:pt idx="413">
                  <c:v>1180</c:v>
                </c:pt>
                <c:pt idx="414">
                  <c:v>1190</c:v>
                </c:pt>
                <c:pt idx="415">
                  <c:v>1192</c:v>
                </c:pt>
                <c:pt idx="416">
                  <c:v>1200</c:v>
                </c:pt>
                <c:pt idx="417">
                  <c:v>1195</c:v>
                </c:pt>
                <c:pt idx="418">
                  <c:v>1199</c:v>
                </c:pt>
                <c:pt idx="419">
                  <c:v>1218</c:v>
                </c:pt>
                <c:pt idx="420">
                  <c:v>1221</c:v>
                </c:pt>
                <c:pt idx="421">
                  <c:v>1236</c:v>
                </c:pt>
                <c:pt idx="422">
                  <c:v>1237</c:v>
                </c:pt>
                <c:pt idx="423">
                  <c:v>1242</c:v>
                </c:pt>
                <c:pt idx="424">
                  <c:v>1242</c:v>
                </c:pt>
                <c:pt idx="425">
                  <c:v>1243</c:v>
                </c:pt>
                <c:pt idx="426">
                  <c:v>1284</c:v>
                </c:pt>
                <c:pt idx="427">
                  <c:v>1295</c:v>
                </c:pt>
                <c:pt idx="428">
                  <c:v>1309</c:v>
                </c:pt>
                <c:pt idx="429">
                  <c:v>1323</c:v>
                </c:pt>
                <c:pt idx="430">
                  <c:v>1341</c:v>
                </c:pt>
                <c:pt idx="431">
                  <c:v>1348</c:v>
                </c:pt>
                <c:pt idx="432">
                  <c:v>1350</c:v>
                </c:pt>
                <c:pt idx="433">
                  <c:v>1401</c:v>
                </c:pt>
                <c:pt idx="434">
                  <c:v>1418</c:v>
                </c:pt>
                <c:pt idx="435">
                  <c:v>1429</c:v>
                </c:pt>
                <c:pt idx="436">
                  <c:v>1457</c:v>
                </c:pt>
                <c:pt idx="437">
                  <c:v>1487</c:v>
                </c:pt>
                <c:pt idx="438">
                  <c:v>1494</c:v>
                </c:pt>
                <c:pt idx="439">
                  <c:v>1500</c:v>
                </c:pt>
                <c:pt idx="440">
                  <c:v>1551</c:v>
                </c:pt>
                <c:pt idx="441">
                  <c:v>1547</c:v>
                </c:pt>
                <c:pt idx="442">
                  <c:v>1529</c:v>
                </c:pt>
                <c:pt idx="443">
                  <c:v>1547</c:v>
                </c:pt>
                <c:pt idx="444">
                  <c:v>1572</c:v>
                </c:pt>
                <c:pt idx="445">
                  <c:v>1560</c:v>
                </c:pt>
                <c:pt idx="446">
                  <c:v>1556</c:v>
                </c:pt>
                <c:pt idx="447">
                  <c:v>1621</c:v>
                </c:pt>
                <c:pt idx="448">
                  <c:v>1623</c:v>
                </c:pt>
                <c:pt idx="449">
                  <c:v>1634</c:v>
                </c:pt>
                <c:pt idx="450">
                  <c:v>1635</c:v>
                </c:pt>
                <c:pt idx="451">
                  <c:v>1644</c:v>
                </c:pt>
                <c:pt idx="452">
                  <c:v>1631</c:v>
                </c:pt>
                <c:pt idx="453">
                  <c:v>1619</c:v>
                </c:pt>
                <c:pt idx="454">
                  <c:v>1654</c:v>
                </c:pt>
                <c:pt idx="455">
                  <c:v>1636</c:v>
                </c:pt>
                <c:pt idx="456">
                  <c:v>1629</c:v>
                </c:pt>
                <c:pt idx="457">
                  <c:v>1645</c:v>
                </c:pt>
                <c:pt idx="458">
                  <c:v>1608</c:v>
                </c:pt>
                <c:pt idx="459">
                  <c:v>1572</c:v>
                </c:pt>
                <c:pt idx="460">
                  <c:v>1563</c:v>
                </c:pt>
                <c:pt idx="461">
                  <c:v>1598</c:v>
                </c:pt>
                <c:pt idx="462">
                  <c:v>1563</c:v>
                </c:pt>
                <c:pt idx="463">
                  <c:v>1540</c:v>
                </c:pt>
                <c:pt idx="464">
                  <c:v>1501</c:v>
                </c:pt>
                <c:pt idx="465">
                  <c:v>1483</c:v>
                </c:pt>
                <c:pt idx="466">
                  <c:v>1447</c:v>
                </c:pt>
                <c:pt idx="467">
                  <c:v>1442</c:v>
                </c:pt>
                <c:pt idx="468">
                  <c:v>1465</c:v>
                </c:pt>
                <c:pt idx="469">
                  <c:v>1435</c:v>
                </c:pt>
                <c:pt idx="470">
                  <c:v>1403</c:v>
                </c:pt>
                <c:pt idx="471">
                  <c:v>1380</c:v>
                </c:pt>
                <c:pt idx="472">
                  <c:v>1357</c:v>
                </c:pt>
                <c:pt idx="473">
                  <c:v>1312</c:v>
                </c:pt>
                <c:pt idx="474">
                  <c:v>1306</c:v>
                </c:pt>
                <c:pt idx="475">
                  <c:v>1321</c:v>
                </c:pt>
                <c:pt idx="476">
                  <c:v>1275</c:v>
                </c:pt>
                <c:pt idx="477">
                  <c:v>1243</c:v>
                </c:pt>
                <c:pt idx="478">
                  <c:v>1208</c:v>
                </c:pt>
                <c:pt idx="479">
                  <c:v>1194</c:v>
                </c:pt>
                <c:pt idx="480">
                  <c:v>1170</c:v>
                </c:pt>
                <c:pt idx="481">
                  <c:v>1161</c:v>
                </c:pt>
                <c:pt idx="482">
                  <c:v>1160</c:v>
                </c:pt>
                <c:pt idx="483">
                  <c:v>1142</c:v>
                </c:pt>
                <c:pt idx="484">
                  <c:v>1112</c:v>
                </c:pt>
                <c:pt idx="485">
                  <c:v>1101</c:v>
                </c:pt>
                <c:pt idx="486">
                  <c:v>1089</c:v>
                </c:pt>
                <c:pt idx="487">
                  <c:v>1069</c:v>
                </c:pt>
                <c:pt idx="488">
                  <c:v>1062</c:v>
                </c:pt>
                <c:pt idx="489">
                  <c:v>1072</c:v>
                </c:pt>
                <c:pt idx="490">
                  <c:v>1058</c:v>
                </c:pt>
                <c:pt idx="491">
                  <c:v>1050</c:v>
                </c:pt>
                <c:pt idx="492">
                  <c:v>1051</c:v>
                </c:pt>
                <c:pt idx="493">
                  <c:v>1054</c:v>
                </c:pt>
                <c:pt idx="494">
                  <c:v>1051</c:v>
                </c:pt>
                <c:pt idx="495">
                  <c:v>1049</c:v>
                </c:pt>
                <c:pt idx="496">
                  <c:v>1065</c:v>
                </c:pt>
                <c:pt idx="497">
                  <c:v>1053</c:v>
                </c:pt>
                <c:pt idx="498">
                  <c:v>1045</c:v>
                </c:pt>
                <c:pt idx="499">
                  <c:v>1040</c:v>
                </c:pt>
                <c:pt idx="500">
                  <c:v>1040</c:v>
                </c:pt>
                <c:pt idx="501">
                  <c:v>1042</c:v>
                </c:pt>
                <c:pt idx="502">
                  <c:v>1052</c:v>
                </c:pt>
                <c:pt idx="503">
                  <c:v>1094</c:v>
                </c:pt>
                <c:pt idx="504">
                  <c:v>1110</c:v>
                </c:pt>
                <c:pt idx="505">
                  <c:v>1142</c:v>
                </c:pt>
                <c:pt idx="506">
                  <c:v>1184</c:v>
                </c:pt>
                <c:pt idx="507">
                  <c:v>1242</c:v>
                </c:pt>
                <c:pt idx="508">
                  <c:v>1235</c:v>
                </c:pt>
                <c:pt idx="509">
                  <c:v>1236</c:v>
                </c:pt>
                <c:pt idx="510">
                  <c:v>1303</c:v>
                </c:pt>
                <c:pt idx="511">
                  <c:v>1370</c:v>
                </c:pt>
                <c:pt idx="512">
                  <c:v>1455</c:v>
                </c:pt>
                <c:pt idx="513">
                  <c:v>1506</c:v>
                </c:pt>
                <c:pt idx="514">
                  <c:v>1522</c:v>
                </c:pt>
                <c:pt idx="515">
                  <c:v>1508</c:v>
                </c:pt>
                <c:pt idx="516">
                  <c:v>1488</c:v>
                </c:pt>
                <c:pt idx="517">
                  <c:v>1547</c:v>
                </c:pt>
                <c:pt idx="518">
                  <c:v>1596</c:v>
                </c:pt>
                <c:pt idx="519">
                  <c:v>1660</c:v>
                </c:pt>
                <c:pt idx="520">
                  <c:v>1700</c:v>
                </c:pt>
                <c:pt idx="521">
                  <c:v>1673</c:v>
                </c:pt>
                <c:pt idx="522">
                  <c:v>1571</c:v>
                </c:pt>
                <c:pt idx="523">
                  <c:v>1481</c:v>
                </c:pt>
                <c:pt idx="524">
                  <c:v>1508</c:v>
                </c:pt>
                <c:pt idx="525">
                  <c:v>1499</c:v>
                </c:pt>
                <c:pt idx="526">
                  <c:v>1525</c:v>
                </c:pt>
                <c:pt idx="527">
                  <c:v>1546</c:v>
                </c:pt>
                <c:pt idx="528">
                  <c:v>1438</c:v>
                </c:pt>
                <c:pt idx="529">
                  <c:v>1324</c:v>
                </c:pt>
                <c:pt idx="530">
                  <c:v>1245</c:v>
                </c:pt>
                <c:pt idx="531">
                  <c:v>1244</c:v>
                </c:pt>
                <c:pt idx="532">
                  <c:v>1222</c:v>
                </c:pt>
                <c:pt idx="533">
                  <c:v>1252</c:v>
                </c:pt>
                <c:pt idx="534">
                  <c:v>1249</c:v>
                </c:pt>
                <c:pt idx="535">
                  <c:v>1095</c:v>
                </c:pt>
                <c:pt idx="536">
                  <c:v>1002</c:v>
                </c:pt>
                <c:pt idx="537">
                  <c:v>912</c:v>
                </c:pt>
                <c:pt idx="538">
                  <c:v>901</c:v>
                </c:pt>
                <c:pt idx="539">
                  <c:v>857</c:v>
                </c:pt>
                <c:pt idx="540">
                  <c:v>861</c:v>
                </c:pt>
                <c:pt idx="541">
                  <c:v>867</c:v>
                </c:pt>
                <c:pt idx="542">
                  <c:v>752</c:v>
                </c:pt>
                <c:pt idx="543">
                  <c:v>669</c:v>
                </c:pt>
                <c:pt idx="544">
                  <c:v>606</c:v>
                </c:pt>
                <c:pt idx="545">
                  <c:v>594</c:v>
                </c:pt>
                <c:pt idx="546">
                  <c:v>565</c:v>
                </c:pt>
                <c:pt idx="547">
                  <c:v>567</c:v>
                </c:pt>
                <c:pt idx="548">
                  <c:v>570</c:v>
                </c:pt>
                <c:pt idx="549">
                  <c:v>494</c:v>
                </c:pt>
                <c:pt idx="550">
                  <c:v>453</c:v>
                </c:pt>
                <c:pt idx="551">
                  <c:v>408</c:v>
                </c:pt>
                <c:pt idx="552">
                  <c:v>413</c:v>
                </c:pt>
                <c:pt idx="553">
                  <c:v>404</c:v>
                </c:pt>
                <c:pt idx="554">
                  <c:v>420</c:v>
                </c:pt>
                <c:pt idx="555">
                  <c:v>406</c:v>
                </c:pt>
                <c:pt idx="556">
                  <c:v>381</c:v>
                </c:pt>
                <c:pt idx="557">
                  <c:v>356</c:v>
                </c:pt>
                <c:pt idx="558">
                  <c:v>329</c:v>
                </c:pt>
                <c:pt idx="559">
                  <c:v>340</c:v>
                </c:pt>
                <c:pt idx="560">
                  <c:v>344</c:v>
                </c:pt>
                <c:pt idx="561">
                  <c:v>345</c:v>
                </c:pt>
                <c:pt idx="562">
                  <c:v>354</c:v>
                </c:pt>
                <c:pt idx="563">
                  <c:v>327</c:v>
                </c:pt>
                <c:pt idx="564">
                  <c:v>289</c:v>
                </c:pt>
                <c:pt idx="565">
                  <c:v>257</c:v>
                </c:pt>
                <c:pt idx="566">
                  <c:v>271</c:v>
                </c:pt>
                <c:pt idx="567">
                  <c:v>284</c:v>
                </c:pt>
                <c:pt idx="568">
                  <c:v>291</c:v>
                </c:pt>
                <c:pt idx="569">
                  <c:v>295</c:v>
                </c:pt>
                <c:pt idx="570">
                  <c:v>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List1!$D$2:$D$572</c:f>
              <c:numCache>
                <c:formatCode>General</c:formatCode>
                <c:ptCount val="571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1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16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5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3</c:v>
                </c:pt>
                <c:pt idx="27">
                  <c:v>46</c:v>
                </c:pt>
                <c:pt idx="28">
                  <c:v>70</c:v>
                </c:pt>
                <c:pt idx="29">
                  <c:v>99</c:v>
                </c:pt>
                <c:pt idx="30">
                  <c:v>156</c:v>
                </c:pt>
                <c:pt idx="31">
                  <c:v>304</c:v>
                </c:pt>
                <c:pt idx="32">
                  <c:v>362</c:v>
                </c:pt>
                <c:pt idx="33">
                  <c:v>431</c:v>
                </c:pt>
                <c:pt idx="34">
                  <c:v>684</c:v>
                </c:pt>
                <c:pt idx="35">
                  <c:v>795</c:v>
                </c:pt>
                <c:pt idx="36">
                  <c:v>859</c:v>
                </c:pt>
                <c:pt idx="37">
                  <c:v>1012</c:v>
                </c:pt>
                <c:pt idx="38">
                  <c:v>1231</c:v>
                </c:pt>
                <c:pt idx="39">
                  <c:v>1287</c:v>
                </c:pt>
                <c:pt idx="40">
                  <c:v>1270</c:v>
                </c:pt>
                <c:pt idx="41">
                  <c:v>1525</c:v>
                </c:pt>
                <c:pt idx="42">
                  <c:v>1825</c:v>
                </c:pt>
                <c:pt idx="43">
                  <c:v>2129</c:v>
                </c:pt>
                <c:pt idx="44">
                  <c:v>2488</c:v>
                </c:pt>
                <c:pt idx="45">
                  <c:v>2787</c:v>
                </c:pt>
                <c:pt idx="46">
                  <c:v>2934</c:v>
                </c:pt>
                <c:pt idx="47">
                  <c:v>2882</c:v>
                </c:pt>
                <c:pt idx="48">
                  <c:v>3207</c:v>
                </c:pt>
                <c:pt idx="49">
                  <c:v>3471</c:v>
                </c:pt>
                <c:pt idx="50">
                  <c:v>3984</c:v>
                </c:pt>
                <c:pt idx="51">
                  <c:v>4314</c:v>
                </c:pt>
                <c:pt idx="52">
                  <c:v>4882</c:v>
                </c:pt>
                <c:pt idx="53">
                  <c:v>5035</c:v>
                </c:pt>
                <c:pt idx="54">
                  <c:v>5050</c:v>
                </c:pt>
                <c:pt idx="55">
                  <c:v>5406</c:v>
                </c:pt>
                <c:pt idx="56">
                  <c:v>5943</c:v>
                </c:pt>
                <c:pt idx="57">
                  <c:v>5988</c:v>
                </c:pt>
                <c:pt idx="58">
                  <c:v>6850</c:v>
                </c:pt>
                <c:pt idx="59">
                  <c:v>7291</c:v>
                </c:pt>
                <c:pt idx="60">
                  <c:v>7294</c:v>
                </c:pt>
                <c:pt idx="61">
                  <c:v>7034</c:v>
                </c:pt>
                <c:pt idx="62">
                  <c:v>7132</c:v>
                </c:pt>
                <c:pt idx="63">
                  <c:v>7009</c:v>
                </c:pt>
                <c:pt idx="64">
                  <c:v>7422</c:v>
                </c:pt>
                <c:pt idx="65">
                  <c:v>7943</c:v>
                </c:pt>
                <c:pt idx="66">
                  <c:v>7631</c:v>
                </c:pt>
                <c:pt idx="67">
                  <c:v>7032</c:v>
                </c:pt>
                <c:pt idx="68">
                  <c:v>6854</c:v>
                </c:pt>
                <c:pt idx="69">
                  <c:v>6467</c:v>
                </c:pt>
                <c:pt idx="70">
                  <c:v>6206</c:v>
                </c:pt>
                <c:pt idx="71">
                  <c:v>6766</c:v>
                </c:pt>
                <c:pt idx="72">
                  <c:v>7288</c:v>
                </c:pt>
                <c:pt idx="73">
                  <c:v>7240</c:v>
                </c:pt>
                <c:pt idx="74">
                  <c:v>6703</c:v>
                </c:pt>
                <c:pt idx="75">
                  <c:v>6347</c:v>
                </c:pt>
                <c:pt idx="76">
                  <c:v>6345</c:v>
                </c:pt>
                <c:pt idx="77">
                  <c:v>5974</c:v>
                </c:pt>
                <c:pt idx="78">
                  <c:v>6273</c:v>
                </c:pt>
                <c:pt idx="79">
                  <c:v>6508</c:v>
                </c:pt>
                <c:pt idx="80">
                  <c:v>6518</c:v>
                </c:pt>
                <c:pt idx="81">
                  <c:v>5880</c:v>
                </c:pt>
                <c:pt idx="82">
                  <c:v>5423</c:v>
                </c:pt>
                <c:pt idx="83">
                  <c:v>5541</c:v>
                </c:pt>
                <c:pt idx="84">
                  <c:v>5195</c:v>
                </c:pt>
                <c:pt idx="85">
                  <c:v>5219</c:v>
                </c:pt>
                <c:pt idx="86">
                  <c:v>5340</c:v>
                </c:pt>
                <c:pt idx="87">
                  <c:v>5058</c:v>
                </c:pt>
                <c:pt idx="88">
                  <c:v>4987</c:v>
                </c:pt>
                <c:pt idx="89">
                  <c:v>4586</c:v>
                </c:pt>
                <c:pt idx="90">
                  <c:v>4473</c:v>
                </c:pt>
                <c:pt idx="91">
                  <c:v>4285</c:v>
                </c:pt>
                <c:pt idx="92">
                  <c:v>4374</c:v>
                </c:pt>
                <c:pt idx="93">
                  <c:v>4477</c:v>
                </c:pt>
                <c:pt idx="94">
                  <c:v>4308</c:v>
                </c:pt>
                <c:pt idx="95">
                  <c:v>4074</c:v>
                </c:pt>
                <c:pt idx="96">
                  <c:v>3852</c:v>
                </c:pt>
                <c:pt idx="97">
                  <c:v>3868</c:v>
                </c:pt>
                <c:pt idx="98">
                  <c:v>3714</c:v>
                </c:pt>
                <c:pt idx="99">
                  <c:v>3809</c:v>
                </c:pt>
                <c:pt idx="100">
                  <c:v>3910</c:v>
                </c:pt>
                <c:pt idx="101">
                  <c:v>3887</c:v>
                </c:pt>
                <c:pt idx="102">
                  <c:v>3718</c:v>
                </c:pt>
                <c:pt idx="103">
                  <c:v>3633</c:v>
                </c:pt>
                <c:pt idx="104">
                  <c:v>3690</c:v>
                </c:pt>
                <c:pt idx="105">
                  <c:v>3676</c:v>
                </c:pt>
                <c:pt idx="106">
                  <c:v>3747</c:v>
                </c:pt>
                <c:pt idx="107">
                  <c:v>3791</c:v>
                </c:pt>
                <c:pt idx="108">
                  <c:v>3797</c:v>
                </c:pt>
                <c:pt idx="109">
                  <c:v>3618</c:v>
                </c:pt>
                <c:pt idx="110">
                  <c:v>3504</c:v>
                </c:pt>
                <c:pt idx="111">
                  <c:v>3664</c:v>
                </c:pt>
                <c:pt idx="112">
                  <c:v>3729</c:v>
                </c:pt>
                <c:pt idx="113">
                  <c:v>3852</c:v>
                </c:pt>
                <c:pt idx="114">
                  <c:v>3838</c:v>
                </c:pt>
                <c:pt idx="115">
                  <c:v>3687</c:v>
                </c:pt>
                <c:pt idx="116">
                  <c:v>3622</c:v>
                </c:pt>
                <c:pt idx="117">
                  <c:v>3589</c:v>
                </c:pt>
                <c:pt idx="118">
                  <c:v>3750</c:v>
                </c:pt>
                <c:pt idx="119">
                  <c:v>3883</c:v>
                </c:pt>
                <c:pt idx="120">
                  <c:v>4063</c:v>
                </c:pt>
                <c:pt idx="121">
                  <c:v>4224</c:v>
                </c:pt>
                <c:pt idx="122">
                  <c:v>3998</c:v>
                </c:pt>
                <c:pt idx="123">
                  <c:v>3900</c:v>
                </c:pt>
                <c:pt idx="124">
                  <c:v>3668</c:v>
                </c:pt>
                <c:pt idx="125">
                  <c:v>4195</c:v>
                </c:pt>
                <c:pt idx="126">
                  <c:v>4414</c:v>
                </c:pt>
                <c:pt idx="127">
                  <c:v>4590</c:v>
                </c:pt>
                <c:pt idx="128">
                  <c:v>4805</c:v>
                </c:pt>
                <c:pt idx="129">
                  <c:v>4724</c:v>
                </c:pt>
                <c:pt idx="130">
                  <c:v>4492</c:v>
                </c:pt>
                <c:pt idx="131">
                  <c:v>4229</c:v>
                </c:pt>
                <c:pt idx="132">
                  <c:v>4540</c:v>
                </c:pt>
                <c:pt idx="133">
                  <c:v>4690</c:v>
                </c:pt>
                <c:pt idx="134">
                  <c:v>4870</c:v>
                </c:pt>
                <c:pt idx="135">
                  <c:v>4926</c:v>
                </c:pt>
                <c:pt idx="136">
                  <c:v>4709</c:v>
                </c:pt>
                <c:pt idx="137">
                  <c:v>4372</c:v>
                </c:pt>
                <c:pt idx="138">
                  <c:v>4110</c:v>
                </c:pt>
                <c:pt idx="139">
                  <c:v>4059</c:v>
                </c:pt>
                <c:pt idx="140">
                  <c:v>3897</c:v>
                </c:pt>
                <c:pt idx="141">
                  <c:v>4014</c:v>
                </c:pt>
                <c:pt idx="142">
                  <c:v>4124</c:v>
                </c:pt>
                <c:pt idx="143">
                  <c:v>3905</c:v>
                </c:pt>
                <c:pt idx="144">
                  <c:v>3760</c:v>
                </c:pt>
                <c:pt idx="145">
                  <c:v>3552</c:v>
                </c:pt>
                <c:pt idx="146">
                  <c:v>3529</c:v>
                </c:pt>
                <c:pt idx="147">
                  <c:v>3480</c:v>
                </c:pt>
                <c:pt idx="148">
                  <c:v>3558</c:v>
                </c:pt>
                <c:pt idx="149">
                  <c:v>3611</c:v>
                </c:pt>
                <c:pt idx="150">
                  <c:v>3392</c:v>
                </c:pt>
                <c:pt idx="151">
                  <c:v>3281</c:v>
                </c:pt>
                <c:pt idx="152">
                  <c:v>3072</c:v>
                </c:pt>
                <c:pt idx="153">
                  <c:v>3123</c:v>
                </c:pt>
                <c:pt idx="154">
                  <c:v>3147</c:v>
                </c:pt>
                <c:pt idx="155">
                  <c:v>3242</c:v>
                </c:pt>
                <c:pt idx="156">
                  <c:v>3300</c:v>
                </c:pt>
                <c:pt idx="157">
                  <c:v>3219</c:v>
                </c:pt>
                <c:pt idx="158">
                  <c:v>3088</c:v>
                </c:pt>
                <c:pt idx="159">
                  <c:v>2989</c:v>
                </c:pt>
                <c:pt idx="160">
                  <c:v>3031</c:v>
                </c:pt>
                <c:pt idx="161">
                  <c:v>2995</c:v>
                </c:pt>
                <c:pt idx="162">
                  <c:v>3051</c:v>
                </c:pt>
                <c:pt idx="163">
                  <c:v>3131</c:v>
                </c:pt>
                <c:pt idx="164">
                  <c:v>3054</c:v>
                </c:pt>
                <c:pt idx="165">
                  <c:v>2875</c:v>
                </c:pt>
                <c:pt idx="166">
                  <c:v>2742</c:v>
                </c:pt>
                <c:pt idx="167">
                  <c:v>2744</c:v>
                </c:pt>
                <c:pt idx="168">
                  <c:v>2652</c:v>
                </c:pt>
                <c:pt idx="169">
                  <c:v>2650</c:v>
                </c:pt>
                <c:pt idx="170">
                  <c:v>2690</c:v>
                </c:pt>
                <c:pt idx="171">
                  <c:v>2611</c:v>
                </c:pt>
                <c:pt idx="172">
                  <c:v>2511</c:v>
                </c:pt>
                <c:pt idx="173">
                  <c:v>2418</c:v>
                </c:pt>
                <c:pt idx="174">
                  <c:v>2500</c:v>
                </c:pt>
                <c:pt idx="175">
                  <c:v>2492</c:v>
                </c:pt>
                <c:pt idx="176">
                  <c:v>2522</c:v>
                </c:pt>
                <c:pt idx="177">
                  <c:v>2580</c:v>
                </c:pt>
                <c:pt idx="178">
                  <c:v>2556</c:v>
                </c:pt>
                <c:pt idx="179">
                  <c:v>2475</c:v>
                </c:pt>
                <c:pt idx="180">
                  <c:v>2418</c:v>
                </c:pt>
                <c:pt idx="181">
                  <c:v>2499</c:v>
                </c:pt>
                <c:pt idx="182">
                  <c:v>2461</c:v>
                </c:pt>
                <c:pt idx="183">
                  <c:v>2510</c:v>
                </c:pt>
                <c:pt idx="184">
                  <c:v>2542</c:v>
                </c:pt>
                <c:pt idx="185">
                  <c:v>2428</c:v>
                </c:pt>
                <c:pt idx="186">
                  <c:v>2348</c:v>
                </c:pt>
                <c:pt idx="187">
                  <c:v>2277</c:v>
                </c:pt>
                <c:pt idx="188">
                  <c:v>2295</c:v>
                </c:pt>
                <c:pt idx="189">
                  <c:v>2344</c:v>
                </c:pt>
                <c:pt idx="190">
                  <c:v>2424</c:v>
                </c:pt>
                <c:pt idx="191">
                  <c:v>2444</c:v>
                </c:pt>
                <c:pt idx="192">
                  <c:v>2489</c:v>
                </c:pt>
                <c:pt idx="193">
                  <c:v>2497</c:v>
                </c:pt>
                <c:pt idx="194">
                  <c:v>2504</c:v>
                </c:pt>
                <c:pt idx="195">
                  <c:v>2573</c:v>
                </c:pt>
                <c:pt idx="196">
                  <c:v>2474</c:v>
                </c:pt>
                <c:pt idx="197">
                  <c:v>2434</c:v>
                </c:pt>
                <c:pt idx="198">
                  <c:v>2378</c:v>
                </c:pt>
                <c:pt idx="199">
                  <c:v>2364</c:v>
                </c:pt>
                <c:pt idx="200">
                  <c:v>2308</c:v>
                </c:pt>
                <c:pt idx="201">
                  <c:v>2302</c:v>
                </c:pt>
                <c:pt idx="202">
                  <c:v>2338</c:v>
                </c:pt>
                <c:pt idx="203">
                  <c:v>2295</c:v>
                </c:pt>
                <c:pt idx="204">
                  <c:v>2237</c:v>
                </c:pt>
                <c:pt idx="205">
                  <c:v>2205</c:v>
                </c:pt>
                <c:pt idx="206">
                  <c:v>2177</c:v>
                </c:pt>
                <c:pt idx="207">
                  <c:v>2117</c:v>
                </c:pt>
                <c:pt idx="208">
                  <c:v>2110</c:v>
                </c:pt>
                <c:pt idx="209">
                  <c:v>2136</c:v>
                </c:pt>
                <c:pt idx="210">
                  <c:v>2096</c:v>
                </c:pt>
                <c:pt idx="211">
                  <c:v>2058</c:v>
                </c:pt>
                <c:pt idx="212">
                  <c:v>2033</c:v>
                </c:pt>
                <c:pt idx="213">
                  <c:v>1981</c:v>
                </c:pt>
                <c:pt idx="214">
                  <c:v>1955</c:v>
                </c:pt>
                <c:pt idx="215">
                  <c:v>1951</c:v>
                </c:pt>
                <c:pt idx="216">
                  <c:v>1955</c:v>
                </c:pt>
                <c:pt idx="217">
                  <c:v>1909</c:v>
                </c:pt>
                <c:pt idx="218">
                  <c:v>1899</c:v>
                </c:pt>
                <c:pt idx="219">
                  <c:v>1883</c:v>
                </c:pt>
                <c:pt idx="220">
                  <c:v>1847</c:v>
                </c:pt>
                <c:pt idx="221">
                  <c:v>1829</c:v>
                </c:pt>
                <c:pt idx="222">
                  <c:v>1824</c:v>
                </c:pt>
                <c:pt idx="223">
                  <c:v>1831</c:v>
                </c:pt>
                <c:pt idx="224">
                  <c:v>1799</c:v>
                </c:pt>
                <c:pt idx="225">
                  <c:v>1770</c:v>
                </c:pt>
                <c:pt idx="226">
                  <c:v>1752</c:v>
                </c:pt>
                <c:pt idx="227">
                  <c:v>1733</c:v>
                </c:pt>
                <c:pt idx="228">
                  <c:v>1729</c:v>
                </c:pt>
                <c:pt idx="229">
                  <c:v>1728</c:v>
                </c:pt>
                <c:pt idx="230">
                  <c:v>1746</c:v>
                </c:pt>
                <c:pt idx="231">
                  <c:v>1736</c:v>
                </c:pt>
                <c:pt idx="232">
                  <c:v>1706</c:v>
                </c:pt>
                <c:pt idx="233">
                  <c:v>1696</c:v>
                </c:pt>
                <c:pt idx="234">
                  <c:v>1692</c:v>
                </c:pt>
                <c:pt idx="235">
                  <c:v>1677</c:v>
                </c:pt>
                <c:pt idx="236">
                  <c:v>1674</c:v>
                </c:pt>
                <c:pt idx="237">
                  <c:v>1681</c:v>
                </c:pt>
                <c:pt idx="238">
                  <c:v>1678</c:v>
                </c:pt>
                <c:pt idx="239">
                  <c:v>1671</c:v>
                </c:pt>
                <c:pt idx="240">
                  <c:v>1667</c:v>
                </c:pt>
                <c:pt idx="241">
                  <c:v>1664</c:v>
                </c:pt>
                <c:pt idx="242">
                  <c:v>1655</c:v>
                </c:pt>
                <c:pt idx="243">
                  <c:v>1654</c:v>
                </c:pt>
                <c:pt idx="244">
                  <c:v>1659</c:v>
                </c:pt>
                <c:pt idx="245">
                  <c:v>1643</c:v>
                </c:pt>
                <c:pt idx="246">
                  <c:v>1636</c:v>
                </c:pt>
                <c:pt idx="247">
                  <c:v>1631</c:v>
                </c:pt>
                <c:pt idx="248">
                  <c:v>1629</c:v>
                </c:pt>
                <c:pt idx="249">
                  <c:v>1618</c:v>
                </c:pt>
                <c:pt idx="250">
                  <c:v>1618</c:v>
                </c:pt>
                <c:pt idx="251">
                  <c:v>1625</c:v>
                </c:pt>
                <c:pt idx="252">
                  <c:v>1621</c:v>
                </c:pt>
                <c:pt idx="253">
                  <c:v>1614</c:v>
                </c:pt>
                <c:pt idx="254">
                  <c:v>1614</c:v>
                </c:pt>
                <c:pt idx="255">
                  <c:v>1614</c:v>
                </c:pt>
                <c:pt idx="256">
                  <c:v>1606</c:v>
                </c:pt>
                <c:pt idx="257">
                  <c:v>1605</c:v>
                </c:pt>
                <c:pt idx="258">
                  <c:v>1610</c:v>
                </c:pt>
                <c:pt idx="259">
                  <c:v>1608</c:v>
                </c:pt>
                <c:pt idx="260">
                  <c:v>1607</c:v>
                </c:pt>
                <c:pt idx="261">
                  <c:v>1606</c:v>
                </c:pt>
                <c:pt idx="262">
                  <c:v>1605</c:v>
                </c:pt>
                <c:pt idx="263">
                  <c:v>1601</c:v>
                </c:pt>
                <c:pt idx="264">
                  <c:v>1600</c:v>
                </c:pt>
                <c:pt idx="265">
                  <c:v>1603</c:v>
                </c:pt>
                <c:pt idx="266">
                  <c:v>1600</c:v>
                </c:pt>
                <c:pt idx="267">
                  <c:v>1596</c:v>
                </c:pt>
                <c:pt idx="268">
                  <c:v>1594</c:v>
                </c:pt>
                <c:pt idx="269">
                  <c:v>1591</c:v>
                </c:pt>
                <c:pt idx="270">
                  <c:v>1589</c:v>
                </c:pt>
                <c:pt idx="271">
                  <c:v>1586</c:v>
                </c:pt>
                <c:pt idx="272">
                  <c:v>1586</c:v>
                </c:pt>
                <c:pt idx="273">
                  <c:v>1581</c:v>
                </c:pt>
                <c:pt idx="274">
                  <c:v>1581</c:v>
                </c:pt>
                <c:pt idx="275">
                  <c:v>1577</c:v>
                </c:pt>
                <c:pt idx="276">
                  <c:v>1572</c:v>
                </c:pt>
                <c:pt idx="277">
                  <c:v>1571</c:v>
                </c:pt>
                <c:pt idx="278">
                  <c:v>1571</c:v>
                </c:pt>
                <c:pt idx="279">
                  <c:v>1571</c:v>
                </c:pt>
                <c:pt idx="280">
                  <c:v>1569</c:v>
                </c:pt>
                <c:pt idx="281">
                  <c:v>1566</c:v>
                </c:pt>
                <c:pt idx="282">
                  <c:v>1565</c:v>
                </c:pt>
                <c:pt idx="283">
                  <c:v>1566</c:v>
                </c:pt>
                <c:pt idx="284">
                  <c:v>1564</c:v>
                </c:pt>
                <c:pt idx="285">
                  <c:v>1563</c:v>
                </c:pt>
                <c:pt idx="286">
                  <c:v>1563</c:v>
                </c:pt>
                <c:pt idx="287">
                  <c:v>1563</c:v>
                </c:pt>
                <c:pt idx="288">
                  <c:v>1563</c:v>
                </c:pt>
                <c:pt idx="289">
                  <c:v>1562</c:v>
                </c:pt>
                <c:pt idx="290">
                  <c:v>1562</c:v>
                </c:pt>
                <c:pt idx="291">
                  <c:v>1562</c:v>
                </c:pt>
                <c:pt idx="292">
                  <c:v>1562</c:v>
                </c:pt>
                <c:pt idx="293">
                  <c:v>1562</c:v>
                </c:pt>
                <c:pt idx="294">
                  <c:v>1562</c:v>
                </c:pt>
                <c:pt idx="295">
                  <c:v>1563</c:v>
                </c:pt>
                <c:pt idx="296">
                  <c:v>1564</c:v>
                </c:pt>
                <c:pt idx="297">
                  <c:v>1563</c:v>
                </c:pt>
                <c:pt idx="298">
                  <c:v>1563</c:v>
                </c:pt>
                <c:pt idx="299">
                  <c:v>1563</c:v>
                </c:pt>
                <c:pt idx="300">
                  <c:v>1564</c:v>
                </c:pt>
                <c:pt idx="301">
                  <c:v>1564</c:v>
                </c:pt>
                <c:pt idx="302">
                  <c:v>1564</c:v>
                </c:pt>
                <c:pt idx="303">
                  <c:v>1565</c:v>
                </c:pt>
                <c:pt idx="304">
                  <c:v>1563</c:v>
                </c:pt>
                <c:pt idx="305">
                  <c:v>1563</c:v>
                </c:pt>
                <c:pt idx="306">
                  <c:v>1564</c:v>
                </c:pt>
                <c:pt idx="307">
                  <c:v>1564</c:v>
                </c:pt>
                <c:pt idx="308">
                  <c:v>1565</c:v>
                </c:pt>
                <c:pt idx="309">
                  <c:v>1566</c:v>
                </c:pt>
                <c:pt idx="310">
                  <c:v>1566</c:v>
                </c:pt>
                <c:pt idx="311">
                  <c:v>1566</c:v>
                </c:pt>
                <c:pt idx="312">
                  <c:v>1566</c:v>
                </c:pt>
                <c:pt idx="313">
                  <c:v>1567</c:v>
                </c:pt>
                <c:pt idx="314">
                  <c:v>1567</c:v>
                </c:pt>
                <c:pt idx="315">
                  <c:v>1567</c:v>
                </c:pt>
                <c:pt idx="316">
                  <c:v>1567</c:v>
                </c:pt>
                <c:pt idx="317">
                  <c:v>1567</c:v>
                </c:pt>
                <c:pt idx="318">
                  <c:v>1566</c:v>
                </c:pt>
                <c:pt idx="319">
                  <c:v>1566</c:v>
                </c:pt>
                <c:pt idx="320">
                  <c:v>1566</c:v>
                </c:pt>
                <c:pt idx="321">
                  <c:v>1566</c:v>
                </c:pt>
                <c:pt idx="322">
                  <c:v>1565</c:v>
                </c:pt>
                <c:pt idx="323">
                  <c:v>1566</c:v>
                </c:pt>
                <c:pt idx="324">
                  <c:v>1565</c:v>
                </c:pt>
                <c:pt idx="325">
                  <c:v>1565</c:v>
                </c:pt>
                <c:pt idx="326">
                  <c:v>1565</c:v>
                </c:pt>
                <c:pt idx="327">
                  <c:v>1564</c:v>
                </c:pt>
                <c:pt idx="328">
                  <c:v>1563</c:v>
                </c:pt>
                <c:pt idx="329">
                  <c:v>1564</c:v>
                </c:pt>
                <c:pt idx="330">
                  <c:v>1565</c:v>
                </c:pt>
                <c:pt idx="331">
                  <c:v>1565</c:v>
                </c:pt>
                <c:pt idx="332">
                  <c:v>1565</c:v>
                </c:pt>
                <c:pt idx="333">
                  <c:v>1565</c:v>
                </c:pt>
                <c:pt idx="334">
                  <c:v>1565</c:v>
                </c:pt>
                <c:pt idx="335">
                  <c:v>1565</c:v>
                </c:pt>
                <c:pt idx="336">
                  <c:v>1564</c:v>
                </c:pt>
                <c:pt idx="337">
                  <c:v>1564</c:v>
                </c:pt>
                <c:pt idx="338">
                  <c:v>1563</c:v>
                </c:pt>
                <c:pt idx="339">
                  <c:v>1563</c:v>
                </c:pt>
                <c:pt idx="340">
                  <c:v>1563</c:v>
                </c:pt>
                <c:pt idx="341">
                  <c:v>1564</c:v>
                </c:pt>
                <c:pt idx="342">
                  <c:v>1564</c:v>
                </c:pt>
                <c:pt idx="343">
                  <c:v>1563</c:v>
                </c:pt>
                <c:pt idx="344">
                  <c:v>1563</c:v>
                </c:pt>
                <c:pt idx="345">
                  <c:v>1563</c:v>
                </c:pt>
                <c:pt idx="346">
                  <c:v>1563</c:v>
                </c:pt>
                <c:pt idx="347">
                  <c:v>1563</c:v>
                </c:pt>
                <c:pt idx="348">
                  <c:v>1564</c:v>
                </c:pt>
                <c:pt idx="349">
                  <c:v>1565</c:v>
                </c:pt>
                <c:pt idx="350">
                  <c:v>1565</c:v>
                </c:pt>
                <c:pt idx="351">
                  <c:v>1565</c:v>
                </c:pt>
                <c:pt idx="352">
                  <c:v>1566</c:v>
                </c:pt>
                <c:pt idx="353">
                  <c:v>1565</c:v>
                </c:pt>
                <c:pt idx="354">
                  <c:v>1565</c:v>
                </c:pt>
                <c:pt idx="355">
                  <c:v>1565</c:v>
                </c:pt>
                <c:pt idx="356">
                  <c:v>1568</c:v>
                </c:pt>
                <c:pt idx="357">
                  <c:v>1568</c:v>
                </c:pt>
                <c:pt idx="358">
                  <c:v>1568</c:v>
                </c:pt>
                <c:pt idx="359">
                  <c:v>1568</c:v>
                </c:pt>
                <c:pt idx="360">
                  <c:v>1569</c:v>
                </c:pt>
                <c:pt idx="361">
                  <c:v>1568</c:v>
                </c:pt>
                <c:pt idx="362">
                  <c:v>1569</c:v>
                </c:pt>
                <c:pt idx="363">
                  <c:v>1568</c:v>
                </c:pt>
                <c:pt idx="364">
                  <c:v>1568</c:v>
                </c:pt>
                <c:pt idx="365">
                  <c:v>1574</c:v>
                </c:pt>
                <c:pt idx="366">
                  <c:v>1579</c:v>
                </c:pt>
                <c:pt idx="367">
                  <c:v>1582</c:v>
                </c:pt>
                <c:pt idx="368">
                  <c:v>1583</c:v>
                </c:pt>
                <c:pt idx="369">
                  <c:v>1582</c:v>
                </c:pt>
                <c:pt idx="370">
                  <c:v>1587</c:v>
                </c:pt>
                <c:pt idx="371">
                  <c:v>1585</c:v>
                </c:pt>
                <c:pt idx="372">
                  <c:v>1586</c:v>
                </c:pt>
                <c:pt idx="373">
                  <c:v>1587</c:v>
                </c:pt>
                <c:pt idx="374">
                  <c:v>1588</c:v>
                </c:pt>
                <c:pt idx="375">
                  <c:v>1587</c:v>
                </c:pt>
                <c:pt idx="376">
                  <c:v>1586</c:v>
                </c:pt>
                <c:pt idx="377">
                  <c:v>1587</c:v>
                </c:pt>
                <c:pt idx="378">
                  <c:v>1588</c:v>
                </c:pt>
                <c:pt idx="379">
                  <c:v>1587</c:v>
                </c:pt>
                <c:pt idx="380">
                  <c:v>1586</c:v>
                </c:pt>
                <c:pt idx="381">
                  <c:v>1583</c:v>
                </c:pt>
                <c:pt idx="382">
                  <c:v>1581</c:v>
                </c:pt>
                <c:pt idx="383">
                  <c:v>1581</c:v>
                </c:pt>
                <c:pt idx="384">
                  <c:v>1586</c:v>
                </c:pt>
                <c:pt idx="385">
                  <c:v>1586</c:v>
                </c:pt>
                <c:pt idx="386">
                  <c:v>1586</c:v>
                </c:pt>
                <c:pt idx="387">
                  <c:v>1584</c:v>
                </c:pt>
                <c:pt idx="388">
                  <c:v>1584</c:v>
                </c:pt>
                <c:pt idx="389">
                  <c:v>1585</c:v>
                </c:pt>
                <c:pt idx="390">
                  <c:v>1586</c:v>
                </c:pt>
                <c:pt idx="391">
                  <c:v>1591</c:v>
                </c:pt>
                <c:pt idx="392">
                  <c:v>1590</c:v>
                </c:pt>
                <c:pt idx="393">
                  <c:v>1595</c:v>
                </c:pt>
                <c:pt idx="394">
                  <c:v>1595</c:v>
                </c:pt>
                <c:pt idx="395">
                  <c:v>1596</c:v>
                </c:pt>
                <c:pt idx="396">
                  <c:v>1596</c:v>
                </c:pt>
                <c:pt idx="397">
                  <c:v>1596</c:v>
                </c:pt>
                <c:pt idx="398">
                  <c:v>1601</c:v>
                </c:pt>
                <c:pt idx="399">
                  <c:v>1605</c:v>
                </c:pt>
                <c:pt idx="400">
                  <c:v>1610</c:v>
                </c:pt>
                <c:pt idx="401">
                  <c:v>1610</c:v>
                </c:pt>
                <c:pt idx="402">
                  <c:v>1636</c:v>
                </c:pt>
                <c:pt idx="403">
                  <c:v>1637</c:v>
                </c:pt>
                <c:pt idx="404">
                  <c:v>1635</c:v>
                </c:pt>
                <c:pt idx="405">
                  <c:v>1638</c:v>
                </c:pt>
                <c:pt idx="406">
                  <c:v>1636</c:v>
                </c:pt>
                <c:pt idx="407">
                  <c:v>1655</c:v>
                </c:pt>
                <c:pt idx="408">
                  <c:v>1655</c:v>
                </c:pt>
                <c:pt idx="409">
                  <c:v>1662</c:v>
                </c:pt>
                <c:pt idx="410">
                  <c:v>1661</c:v>
                </c:pt>
                <c:pt idx="411">
                  <c:v>1661</c:v>
                </c:pt>
                <c:pt idx="412">
                  <c:v>1677</c:v>
                </c:pt>
                <c:pt idx="413">
                  <c:v>1682</c:v>
                </c:pt>
                <c:pt idx="414">
                  <c:v>1689</c:v>
                </c:pt>
                <c:pt idx="415">
                  <c:v>1691</c:v>
                </c:pt>
                <c:pt idx="416">
                  <c:v>1683</c:v>
                </c:pt>
                <c:pt idx="417">
                  <c:v>1677</c:v>
                </c:pt>
                <c:pt idx="418">
                  <c:v>1679</c:v>
                </c:pt>
                <c:pt idx="419">
                  <c:v>1711</c:v>
                </c:pt>
                <c:pt idx="420">
                  <c:v>1722</c:v>
                </c:pt>
                <c:pt idx="421">
                  <c:v>1745</c:v>
                </c:pt>
                <c:pt idx="422">
                  <c:v>1730</c:v>
                </c:pt>
                <c:pt idx="423">
                  <c:v>1754</c:v>
                </c:pt>
                <c:pt idx="424">
                  <c:v>1756</c:v>
                </c:pt>
                <c:pt idx="425">
                  <c:v>1766</c:v>
                </c:pt>
                <c:pt idx="426">
                  <c:v>1842</c:v>
                </c:pt>
                <c:pt idx="427">
                  <c:v>1865</c:v>
                </c:pt>
                <c:pt idx="428">
                  <c:v>1883</c:v>
                </c:pt>
                <c:pt idx="429">
                  <c:v>1945</c:v>
                </c:pt>
                <c:pt idx="430">
                  <c:v>1982</c:v>
                </c:pt>
                <c:pt idx="431">
                  <c:v>1983</c:v>
                </c:pt>
                <c:pt idx="432">
                  <c:v>1984</c:v>
                </c:pt>
                <c:pt idx="433">
                  <c:v>2060</c:v>
                </c:pt>
                <c:pt idx="434">
                  <c:v>2092</c:v>
                </c:pt>
                <c:pt idx="435">
                  <c:v>2110</c:v>
                </c:pt>
                <c:pt idx="436">
                  <c:v>2147</c:v>
                </c:pt>
                <c:pt idx="437">
                  <c:v>2188</c:v>
                </c:pt>
                <c:pt idx="438">
                  <c:v>2192</c:v>
                </c:pt>
                <c:pt idx="439">
                  <c:v>2203</c:v>
                </c:pt>
                <c:pt idx="440">
                  <c:v>2283</c:v>
                </c:pt>
                <c:pt idx="441">
                  <c:v>2281</c:v>
                </c:pt>
                <c:pt idx="442">
                  <c:v>2267</c:v>
                </c:pt>
                <c:pt idx="443">
                  <c:v>2315</c:v>
                </c:pt>
                <c:pt idx="444">
                  <c:v>2395</c:v>
                </c:pt>
                <c:pt idx="445">
                  <c:v>2386</c:v>
                </c:pt>
                <c:pt idx="446">
                  <c:v>2379</c:v>
                </c:pt>
                <c:pt idx="447">
                  <c:v>2486</c:v>
                </c:pt>
                <c:pt idx="448">
                  <c:v>2474</c:v>
                </c:pt>
                <c:pt idx="449">
                  <c:v>2493</c:v>
                </c:pt>
                <c:pt idx="450">
                  <c:v>2493</c:v>
                </c:pt>
                <c:pt idx="451">
                  <c:v>2535</c:v>
                </c:pt>
                <c:pt idx="452">
                  <c:v>2507</c:v>
                </c:pt>
                <c:pt idx="453">
                  <c:v>2496</c:v>
                </c:pt>
                <c:pt idx="454">
                  <c:v>2565</c:v>
                </c:pt>
                <c:pt idx="455">
                  <c:v>2525</c:v>
                </c:pt>
                <c:pt idx="456">
                  <c:v>2492</c:v>
                </c:pt>
                <c:pt idx="457">
                  <c:v>2510</c:v>
                </c:pt>
                <c:pt idx="458">
                  <c:v>2368</c:v>
                </c:pt>
                <c:pt idx="459">
                  <c:v>2352</c:v>
                </c:pt>
                <c:pt idx="460">
                  <c:v>2323</c:v>
                </c:pt>
                <c:pt idx="461">
                  <c:v>2378</c:v>
                </c:pt>
                <c:pt idx="462">
                  <c:v>2318</c:v>
                </c:pt>
                <c:pt idx="463">
                  <c:v>2286</c:v>
                </c:pt>
                <c:pt idx="464">
                  <c:v>2236</c:v>
                </c:pt>
                <c:pt idx="465">
                  <c:v>2176</c:v>
                </c:pt>
                <c:pt idx="466">
                  <c:v>2125</c:v>
                </c:pt>
                <c:pt idx="467">
                  <c:v>2118</c:v>
                </c:pt>
                <c:pt idx="468">
                  <c:v>2150</c:v>
                </c:pt>
                <c:pt idx="469">
                  <c:v>2106</c:v>
                </c:pt>
                <c:pt idx="470">
                  <c:v>2067</c:v>
                </c:pt>
                <c:pt idx="471">
                  <c:v>2020</c:v>
                </c:pt>
                <c:pt idx="472">
                  <c:v>1979</c:v>
                </c:pt>
                <c:pt idx="473">
                  <c:v>1886</c:v>
                </c:pt>
                <c:pt idx="474">
                  <c:v>1881</c:v>
                </c:pt>
                <c:pt idx="475">
                  <c:v>1908</c:v>
                </c:pt>
                <c:pt idx="476">
                  <c:v>1836</c:v>
                </c:pt>
                <c:pt idx="477">
                  <c:v>1785</c:v>
                </c:pt>
                <c:pt idx="478">
                  <c:v>1719</c:v>
                </c:pt>
                <c:pt idx="479">
                  <c:v>1683</c:v>
                </c:pt>
                <c:pt idx="480">
                  <c:v>1648</c:v>
                </c:pt>
                <c:pt idx="481">
                  <c:v>1634</c:v>
                </c:pt>
                <c:pt idx="482">
                  <c:v>1642</c:v>
                </c:pt>
                <c:pt idx="483">
                  <c:v>1599</c:v>
                </c:pt>
                <c:pt idx="484">
                  <c:v>1563</c:v>
                </c:pt>
                <c:pt idx="485">
                  <c:v>1537</c:v>
                </c:pt>
                <c:pt idx="486">
                  <c:v>1518</c:v>
                </c:pt>
                <c:pt idx="487">
                  <c:v>1490</c:v>
                </c:pt>
                <c:pt idx="488">
                  <c:v>1478</c:v>
                </c:pt>
                <c:pt idx="489">
                  <c:v>1490</c:v>
                </c:pt>
                <c:pt idx="490">
                  <c:v>1464</c:v>
                </c:pt>
                <c:pt idx="491">
                  <c:v>1454</c:v>
                </c:pt>
                <c:pt idx="492">
                  <c:v>1454</c:v>
                </c:pt>
                <c:pt idx="493">
                  <c:v>1454</c:v>
                </c:pt>
                <c:pt idx="494">
                  <c:v>1449</c:v>
                </c:pt>
                <c:pt idx="495">
                  <c:v>1446</c:v>
                </c:pt>
                <c:pt idx="496">
                  <c:v>1461</c:v>
                </c:pt>
                <c:pt idx="497">
                  <c:v>1441</c:v>
                </c:pt>
                <c:pt idx="498">
                  <c:v>1434</c:v>
                </c:pt>
                <c:pt idx="499">
                  <c:v>1426</c:v>
                </c:pt>
                <c:pt idx="500">
                  <c:v>1428</c:v>
                </c:pt>
                <c:pt idx="501">
                  <c:v>1427</c:v>
                </c:pt>
                <c:pt idx="502">
                  <c:v>1440</c:v>
                </c:pt>
                <c:pt idx="503">
                  <c:v>1502</c:v>
                </c:pt>
                <c:pt idx="504">
                  <c:v>1527</c:v>
                </c:pt>
                <c:pt idx="505">
                  <c:v>1558</c:v>
                </c:pt>
                <c:pt idx="506">
                  <c:v>1617</c:v>
                </c:pt>
                <c:pt idx="507">
                  <c:v>1679</c:v>
                </c:pt>
                <c:pt idx="508">
                  <c:v>1692</c:v>
                </c:pt>
                <c:pt idx="509">
                  <c:v>1697</c:v>
                </c:pt>
                <c:pt idx="510">
                  <c:v>1801</c:v>
                </c:pt>
                <c:pt idx="511">
                  <c:v>1900</c:v>
                </c:pt>
                <c:pt idx="512">
                  <c:v>2021</c:v>
                </c:pt>
                <c:pt idx="513">
                  <c:v>2093</c:v>
                </c:pt>
                <c:pt idx="514">
                  <c:v>2146</c:v>
                </c:pt>
                <c:pt idx="515">
                  <c:v>2128</c:v>
                </c:pt>
                <c:pt idx="516">
                  <c:v>2104</c:v>
                </c:pt>
                <c:pt idx="517">
                  <c:v>2187</c:v>
                </c:pt>
                <c:pt idx="518">
                  <c:v>2255</c:v>
                </c:pt>
                <c:pt idx="519">
                  <c:v>2342</c:v>
                </c:pt>
                <c:pt idx="520">
                  <c:v>2394</c:v>
                </c:pt>
                <c:pt idx="521">
                  <c:v>2387</c:v>
                </c:pt>
                <c:pt idx="522">
                  <c:v>2250</c:v>
                </c:pt>
                <c:pt idx="523">
                  <c:v>2136</c:v>
                </c:pt>
                <c:pt idx="524">
                  <c:v>2197</c:v>
                </c:pt>
                <c:pt idx="525">
                  <c:v>2187</c:v>
                </c:pt>
                <c:pt idx="526">
                  <c:v>2231</c:v>
                </c:pt>
                <c:pt idx="527">
                  <c:v>2285</c:v>
                </c:pt>
                <c:pt idx="528">
                  <c:v>2194</c:v>
                </c:pt>
                <c:pt idx="529">
                  <c:v>2029</c:v>
                </c:pt>
                <c:pt idx="530">
                  <c:v>1928</c:v>
                </c:pt>
                <c:pt idx="531">
                  <c:v>1950</c:v>
                </c:pt>
                <c:pt idx="532">
                  <c:v>1917</c:v>
                </c:pt>
                <c:pt idx="533">
                  <c:v>1985</c:v>
                </c:pt>
                <c:pt idx="534">
                  <c:v>2042</c:v>
                </c:pt>
                <c:pt idx="535">
                  <c:v>1839</c:v>
                </c:pt>
                <c:pt idx="536">
                  <c:v>1681</c:v>
                </c:pt>
                <c:pt idx="537">
                  <c:v>1578</c:v>
                </c:pt>
                <c:pt idx="538">
                  <c:v>1537</c:v>
                </c:pt>
                <c:pt idx="539">
                  <c:v>1465</c:v>
                </c:pt>
                <c:pt idx="540">
                  <c:v>1498</c:v>
                </c:pt>
                <c:pt idx="541">
                  <c:v>1514</c:v>
                </c:pt>
                <c:pt idx="542">
                  <c:v>1357</c:v>
                </c:pt>
                <c:pt idx="543">
                  <c:v>1231</c:v>
                </c:pt>
                <c:pt idx="544">
                  <c:v>1074</c:v>
                </c:pt>
                <c:pt idx="545">
                  <c:v>1035</c:v>
                </c:pt>
                <c:pt idx="546">
                  <c:v>995</c:v>
                </c:pt>
                <c:pt idx="547">
                  <c:v>1017</c:v>
                </c:pt>
                <c:pt idx="548">
                  <c:v>1025</c:v>
                </c:pt>
                <c:pt idx="549">
                  <c:v>925</c:v>
                </c:pt>
                <c:pt idx="550">
                  <c:v>824</c:v>
                </c:pt>
                <c:pt idx="551">
                  <c:v>753</c:v>
                </c:pt>
                <c:pt idx="552">
                  <c:v>738</c:v>
                </c:pt>
                <c:pt idx="553">
                  <c:v>756</c:v>
                </c:pt>
                <c:pt idx="554">
                  <c:v>772</c:v>
                </c:pt>
                <c:pt idx="555">
                  <c:v>775</c:v>
                </c:pt>
                <c:pt idx="556">
                  <c:v>696</c:v>
                </c:pt>
                <c:pt idx="557">
                  <c:v>632</c:v>
                </c:pt>
                <c:pt idx="558">
                  <c:v>585</c:v>
                </c:pt>
                <c:pt idx="559">
                  <c:v>594</c:v>
                </c:pt>
                <c:pt idx="560">
                  <c:v>592</c:v>
                </c:pt>
                <c:pt idx="561">
                  <c:v>603</c:v>
                </c:pt>
                <c:pt idx="562">
                  <c:v>630</c:v>
                </c:pt>
                <c:pt idx="563">
                  <c:v>591</c:v>
                </c:pt>
                <c:pt idx="564">
                  <c:v>485</c:v>
                </c:pt>
                <c:pt idx="565">
                  <c:v>431</c:v>
                </c:pt>
                <c:pt idx="566">
                  <c:v>452</c:v>
                </c:pt>
                <c:pt idx="567">
                  <c:v>466</c:v>
                </c:pt>
                <c:pt idx="568">
                  <c:v>482</c:v>
                </c:pt>
                <c:pt idx="569">
                  <c:v>504</c:v>
                </c:pt>
                <c:pt idx="570">
                  <c:v>4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7</c:v>
                </c:pt>
                <c:pt idx="58">
                  <c:v>11</c:v>
                </c:pt>
                <c:pt idx="59">
                  <c:v>19</c:v>
                </c:pt>
                <c:pt idx="60">
                  <c:v>21</c:v>
                </c:pt>
                <c:pt idx="61">
                  <c:v>21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9</c:v>
                </c:pt>
                <c:pt idx="69">
                  <c:v>63</c:v>
                </c:pt>
                <c:pt idx="70">
                  <c:v>82</c:v>
                </c:pt>
                <c:pt idx="71">
                  <c:v>70</c:v>
                </c:pt>
                <c:pt idx="72">
                  <c:v>89</c:v>
                </c:pt>
                <c:pt idx="73">
                  <c:v>88</c:v>
                </c:pt>
                <c:pt idx="74">
                  <c:v>104</c:v>
                </c:pt>
                <c:pt idx="75">
                  <c:v>109</c:v>
                </c:pt>
                <c:pt idx="76">
                  <c:v>126</c:v>
                </c:pt>
                <c:pt idx="77">
                  <c:v>128</c:v>
                </c:pt>
                <c:pt idx="78">
                  <c:v>116</c:v>
                </c:pt>
                <c:pt idx="79">
                  <c:v>140</c:v>
                </c:pt>
                <c:pt idx="80">
                  <c:v>143</c:v>
                </c:pt>
                <c:pt idx="81">
                  <c:v>160</c:v>
                </c:pt>
                <c:pt idx="82">
                  <c:v>190</c:v>
                </c:pt>
                <c:pt idx="83">
                  <c:v>162</c:v>
                </c:pt>
                <c:pt idx="84">
                  <c:v>200</c:v>
                </c:pt>
                <c:pt idx="85">
                  <c:v>204</c:v>
                </c:pt>
                <c:pt idx="86">
                  <c:v>187</c:v>
                </c:pt>
                <c:pt idx="87">
                  <c:v>182</c:v>
                </c:pt>
                <c:pt idx="88">
                  <c:v>157</c:v>
                </c:pt>
                <c:pt idx="89">
                  <c:v>108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30</c:v>
                </c:pt>
                <c:pt idx="95">
                  <c:v>22</c:v>
                </c:pt>
                <c:pt idx="96">
                  <c:v>10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5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0</c:v>
                </c:pt>
                <c:pt idx="11">
                  <c:v>15</c:v>
                </c:pt>
                <c:pt idx="12">
                  <c:v>33</c:v>
                </c:pt>
                <c:pt idx="13">
                  <c:v>22</c:v>
                </c:pt>
                <c:pt idx="14">
                  <c:v>29</c:v>
                </c:pt>
                <c:pt idx="15">
                  <c:v>26</c:v>
                </c:pt>
                <c:pt idx="16">
                  <c:v>39</c:v>
                </c:pt>
                <c:pt idx="17">
                  <c:v>33</c:v>
                </c:pt>
                <c:pt idx="18">
                  <c:v>27</c:v>
                </c:pt>
                <c:pt idx="19">
                  <c:v>40</c:v>
                </c:pt>
                <c:pt idx="20">
                  <c:v>53</c:v>
                </c:pt>
                <c:pt idx="21">
                  <c:v>60</c:v>
                </c:pt>
                <c:pt idx="22">
                  <c:v>70</c:v>
                </c:pt>
                <c:pt idx="23">
                  <c:v>64</c:v>
                </c:pt>
                <c:pt idx="24">
                  <c:v>86</c:v>
                </c:pt>
                <c:pt idx="25">
                  <c:v>76</c:v>
                </c:pt>
                <c:pt idx="26">
                  <c:v>81</c:v>
                </c:pt>
                <c:pt idx="27">
                  <c:v>84</c:v>
                </c:pt>
                <c:pt idx="28">
                  <c:v>89</c:v>
                </c:pt>
                <c:pt idx="29">
                  <c:v>89</c:v>
                </c:pt>
                <c:pt idx="30">
                  <c:v>105</c:v>
                </c:pt>
                <c:pt idx="31">
                  <c:v>99</c:v>
                </c:pt>
                <c:pt idx="32">
                  <c:v>87</c:v>
                </c:pt>
                <c:pt idx="33">
                  <c:v>102</c:v>
                </c:pt>
                <c:pt idx="34">
                  <c:v>134</c:v>
                </c:pt>
                <c:pt idx="35">
                  <c:v>108</c:v>
                </c:pt>
                <c:pt idx="36">
                  <c:v>139</c:v>
                </c:pt>
                <c:pt idx="37">
                  <c:v>155</c:v>
                </c:pt>
                <c:pt idx="38">
                  <c:v>140</c:v>
                </c:pt>
                <c:pt idx="39">
                  <c:v>146</c:v>
                </c:pt>
                <c:pt idx="40">
                  <c:v>166</c:v>
                </c:pt>
                <c:pt idx="41">
                  <c:v>160</c:v>
                </c:pt>
                <c:pt idx="42">
                  <c:v>164</c:v>
                </c:pt>
                <c:pt idx="43">
                  <c:v>168</c:v>
                </c:pt>
                <c:pt idx="44">
                  <c:v>144</c:v>
                </c:pt>
                <c:pt idx="45">
                  <c:v>148</c:v>
                </c:pt>
                <c:pt idx="46">
                  <c:v>160</c:v>
                </c:pt>
                <c:pt idx="47">
                  <c:v>174</c:v>
                </c:pt>
                <c:pt idx="48">
                  <c:v>145</c:v>
                </c:pt>
                <c:pt idx="49">
                  <c:v>162</c:v>
                </c:pt>
                <c:pt idx="50">
                  <c:v>174</c:v>
                </c:pt>
                <c:pt idx="51">
                  <c:v>197</c:v>
                </c:pt>
                <c:pt idx="52">
                  <c:v>187</c:v>
                </c:pt>
                <c:pt idx="53">
                  <c:v>187</c:v>
                </c:pt>
                <c:pt idx="54">
                  <c:v>161</c:v>
                </c:pt>
                <c:pt idx="55">
                  <c:v>200</c:v>
                </c:pt>
                <c:pt idx="56">
                  <c:v>233</c:v>
                </c:pt>
                <c:pt idx="57">
                  <c:v>228</c:v>
                </c:pt>
                <c:pt idx="58">
                  <c:v>251</c:v>
                </c:pt>
                <c:pt idx="59">
                  <c:v>284</c:v>
                </c:pt>
                <c:pt idx="60">
                  <c:v>343</c:v>
                </c:pt>
                <c:pt idx="61">
                  <c:v>319</c:v>
                </c:pt>
                <c:pt idx="62">
                  <c:v>351</c:v>
                </c:pt>
                <c:pt idx="63">
                  <c:v>364</c:v>
                </c:pt>
                <c:pt idx="64">
                  <c:v>383</c:v>
                </c:pt>
                <c:pt idx="65">
                  <c:v>471</c:v>
                </c:pt>
                <c:pt idx="66">
                  <c:v>493</c:v>
                </c:pt>
                <c:pt idx="67">
                  <c:v>512</c:v>
                </c:pt>
                <c:pt idx="68">
                  <c:v>594</c:v>
                </c:pt>
                <c:pt idx="69">
                  <c:v>644</c:v>
                </c:pt>
                <c:pt idx="70">
                  <c:v>679</c:v>
                </c:pt>
                <c:pt idx="71">
                  <c:v>644</c:v>
                </c:pt>
                <c:pt idx="72">
                  <c:v>788</c:v>
                </c:pt>
                <c:pt idx="73">
                  <c:v>822</c:v>
                </c:pt>
                <c:pt idx="74">
                  <c:v>837</c:v>
                </c:pt>
                <c:pt idx="75">
                  <c:v>903</c:v>
                </c:pt>
                <c:pt idx="76">
                  <c:v>989</c:v>
                </c:pt>
                <c:pt idx="77">
                  <c:v>993</c:v>
                </c:pt>
                <c:pt idx="78">
                  <c:v>989</c:v>
                </c:pt>
                <c:pt idx="79">
                  <c:v>1121</c:v>
                </c:pt>
                <c:pt idx="80">
                  <c:v>1091</c:v>
                </c:pt>
                <c:pt idx="81">
                  <c:v>1231</c:v>
                </c:pt>
                <c:pt idx="82">
                  <c:v>1294</c:v>
                </c:pt>
                <c:pt idx="83">
                  <c:v>1314</c:v>
                </c:pt>
                <c:pt idx="84">
                  <c:v>1376</c:v>
                </c:pt>
                <c:pt idx="85">
                  <c:v>1317</c:v>
                </c:pt>
                <c:pt idx="86">
                  <c:v>1300</c:v>
                </c:pt>
                <c:pt idx="87">
                  <c:v>1102</c:v>
                </c:pt>
                <c:pt idx="88">
                  <c:v>973</c:v>
                </c:pt>
                <c:pt idx="89">
                  <c:v>789</c:v>
                </c:pt>
                <c:pt idx="90">
                  <c:v>569</c:v>
                </c:pt>
                <c:pt idx="91">
                  <c:v>439</c:v>
                </c:pt>
                <c:pt idx="92">
                  <c:v>328</c:v>
                </c:pt>
                <c:pt idx="93">
                  <c:v>242</c:v>
                </c:pt>
                <c:pt idx="94">
                  <c:v>159</c:v>
                </c:pt>
                <c:pt idx="95">
                  <c:v>104</c:v>
                </c:pt>
                <c:pt idx="96">
                  <c:v>46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Sheet1!$B$2:$B$572</c:f>
              <c:numCache>
                <c:formatCode>#\ ##0_ ;\-#\ ##0\ </c:formatCode>
                <c:ptCount val="571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7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3</c:v>
                </c:pt>
                <c:pt idx="32">
                  <c:v>36</c:v>
                </c:pt>
                <c:pt idx="33">
                  <c:v>57</c:v>
                </c:pt>
                <c:pt idx="34">
                  <c:v>168</c:v>
                </c:pt>
                <c:pt idx="35">
                  <c:v>83</c:v>
                </c:pt>
                <c:pt idx="36">
                  <c:v>45</c:v>
                </c:pt>
                <c:pt idx="37">
                  <c:v>80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2</c:v>
                </c:pt>
                <c:pt idx="44">
                  <c:v>201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6</c:v>
                </c:pt>
                <c:pt idx="49">
                  <c:v>203</c:v>
                </c:pt>
                <c:pt idx="50">
                  <c:v>327</c:v>
                </c:pt>
                <c:pt idx="51">
                  <c:v>238</c:v>
                </c:pt>
                <c:pt idx="52">
                  <c:v>424</c:v>
                </c:pt>
                <c:pt idx="53">
                  <c:v>231</c:v>
                </c:pt>
                <c:pt idx="54">
                  <c:v>200</c:v>
                </c:pt>
                <c:pt idx="55">
                  <c:v>391</c:v>
                </c:pt>
                <c:pt idx="56">
                  <c:v>537</c:v>
                </c:pt>
                <c:pt idx="57">
                  <c:v>266</c:v>
                </c:pt>
                <c:pt idx="58">
                  <c:v>548</c:v>
                </c:pt>
                <c:pt idx="59">
                  <c:v>589</c:v>
                </c:pt>
                <c:pt idx="60">
                  <c:v>340</c:v>
                </c:pt>
                <c:pt idx="61">
                  <c:v>217</c:v>
                </c:pt>
                <c:pt idx="62">
                  <c:v>337</c:v>
                </c:pt>
                <c:pt idx="63">
                  <c:v>351</c:v>
                </c:pt>
                <c:pt idx="64">
                  <c:v>427</c:v>
                </c:pt>
                <c:pt idx="65">
                  <c:v>542</c:v>
                </c:pt>
                <c:pt idx="66">
                  <c:v>501</c:v>
                </c:pt>
                <c:pt idx="67">
                  <c:v>216</c:v>
                </c:pt>
                <c:pt idx="68">
                  <c:v>83</c:v>
                </c:pt>
                <c:pt idx="69">
                  <c:v>209</c:v>
                </c:pt>
                <c:pt idx="70">
                  <c:v>387</c:v>
                </c:pt>
                <c:pt idx="71">
                  <c:v>684</c:v>
                </c:pt>
                <c:pt idx="72">
                  <c:v>506</c:v>
                </c:pt>
                <c:pt idx="73">
                  <c:v>486</c:v>
                </c:pt>
                <c:pt idx="74">
                  <c:v>186</c:v>
                </c:pt>
                <c:pt idx="75">
                  <c:v>170</c:v>
                </c:pt>
                <c:pt idx="76">
                  <c:v>392</c:v>
                </c:pt>
                <c:pt idx="77">
                  <c:v>139</c:v>
                </c:pt>
                <c:pt idx="78">
                  <c:v>274</c:v>
                </c:pt>
                <c:pt idx="79">
                  <c:v>276</c:v>
                </c:pt>
                <c:pt idx="80">
                  <c:v>246</c:v>
                </c:pt>
                <c:pt idx="81">
                  <c:v>96</c:v>
                </c:pt>
                <c:pt idx="82">
                  <c:v>93</c:v>
                </c:pt>
                <c:pt idx="83">
                  <c:v>386</c:v>
                </c:pt>
                <c:pt idx="84">
                  <c:v>202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79</c:v>
                </c:pt>
                <c:pt idx="89">
                  <c:v>29</c:v>
                </c:pt>
                <c:pt idx="90">
                  <c:v>214</c:v>
                </c:pt>
                <c:pt idx="91">
                  <c:v>126</c:v>
                </c:pt>
                <c:pt idx="92">
                  <c:v>136</c:v>
                </c:pt>
                <c:pt idx="93">
                  <c:v>133</c:v>
                </c:pt>
                <c:pt idx="94">
                  <c:v>150</c:v>
                </c:pt>
                <c:pt idx="95">
                  <c:v>89</c:v>
                </c:pt>
                <c:pt idx="96">
                  <c:v>23</c:v>
                </c:pt>
                <c:pt idx="97">
                  <c:v>146</c:v>
                </c:pt>
                <c:pt idx="98">
                  <c:v>92</c:v>
                </c:pt>
                <c:pt idx="99">
                  <c:v>142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1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4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8</c:v>
                </c:pt>
                <c:pt idx="113">
                  <c:v>124</c:v>
                </c:pt>
                <c:pt idx="114">
                  <c:v>19</c:v>
                </c:pt>
                <c:pt idx="115">
                  <c:v>73</c:v>
                </c:pt>
                <c:pt idx="116">
                  <c:v>80</c:v>
                </c:pt>
                <c:pt idx="117">
                  <c:v>98</c:v>
                </c:pt>
                <c:pt idx="118">
                  <c:v>166</c:v>
                </c:pt>
                <c:pt idx="119">
                  <c:v>185</c:v>
                </c:pt>
                <c:pt idx="120">
                  <c:v>148</c:v>
                </c:pt>
                <c:pt idx="121">
                  <c:v>137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1</c:v>
                </c:pt>
                <c:pt idx="126">
                  <c:v>156</c:v>
                </c:pt>
                <c:pt idx="127">
                  <c:v>164</c:v>
                </c:pt>
                <c:pt idx="128">
                  <c:v>236</c:v>
                </c:pt>
                <c:pt idx="129">
                  <c:v>190</c:v>
                </c:pt>
                <c:pt idx="130">
                  <c:v>66</c:v>
                </c:pt>
                <c:pt idx="131">
                  <c:v>37</c:v>
                </c:pt>
                <c:pt idx="132">
                  <c:v>245</c:v>
                </c:pt>
                <c:pt idx="133">
                  <c:v>130</c:v>
                </c:pt>
                <c:pt idx="134">
                  <c:v>175</c:v>
                </c:pt>
                <c:pt idx="135">
                  <c:v>99</c:v>
                </c:pt>
                <c:pt idx="136">
                  <c:v>92</c:v>
                </c:pt>
                <c:pt idx="137">
                  <c:v>36</c:v>
                </c:pt>
                <c:pt idx="138">
                  <c:v>49</c:v>
                </c:pt>
                <c:pt idx="139">
                  <c:v>167</c:v>
                </c:pt>
                <c:pt idx="140">
                  <c:v>84</c:v>
                </c:pt>
                <c:pt idx="141">
                  <c:v>147</c:v>
                </c:pt>
                <c:pt idx="142">
                  <c:v>108</c:v>
                </c:pt>
                <c:pt idx="143">
                  <c:v>119</c:v>
                </c:pt>
                <c:pt idx="144">
                  <c:v>54</c:v>
                </c:pt>
                <c:pt idx="145">
                  <c:v>26</c:v>
                </c:pt>
                <c:pt idx="146">
                  <c:v>88</c:v>
                </c:pt>
                <c:pt idx="147">
                  <c:v>43</c:v>
                </c:pt>
                <c:pt idx="148">
                  <c:v>96</c:v>
                </c:pt>
                <c:pt idx="149">
                  <c:v>68</c:v>
                </c:pt>
                <c:pt idx="150">
                  <c:v>38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3</c:v>
                </c:pt>
                <c:pt idx="156">
                  <c:v>86</c:v>
                </c:pt>
                <c:pt idx="157">
                  <c:v>86</c:v>
                </c:pt>
                <c:pt idx="158">
                  <c:v>44</c:v>
                </c:pt>
                <c:pt idx="159">
                  <c:v>17</c:v>
                </c:pt>
                <c:pt idx="160">
                  <c:v>66</c:v>
                </c:pt>
                <c:pt idx="161">
                  <c:v>67</c:v>
                </c:pt>
                <c:pt idx="162">
                  <c:v>68</c:v>
                </c:pt>
                <c:pt idx="163">
                  <c:v>70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8</c:v>
                </c:pt>
                <c:pt idx="168">
                  <c:v>19</c:v>
                </c:pt>
                <c:pt idx="169">
                  <c:v>30</c:v>
                </c:pt>
                <c:pt idx="170">
                  <c:v>31</c:v>
                </c:pt>
                <c:pt idx="171">
                  <c:v>29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7</c:v>
                </c:pt>
                <c:pt idx="176">
                  <c:v>36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9</c:v>
                </c:pt>
                <c:pt idx="183">
                  <c:v>44</c:v>
                </c:pt>
                <c:pt idx="184">
                  <c:v>11</c:v>
                </c:pt>
                <c:pt idx="185">
                  <c:v>26</c:v>
                </c:pt>
                <c:pt idx="186">
                  <c:v>5</c:v>
                </c:pt>
                <c:pt idx="187">
                  <c:v>6</c:v>
                </c:pt>
                <c:pt idx="188">
                  <c:v>28</c:v>
                </c:pt>
                <c:pt idx="189">
                  <c:v>115</c:v>
                </c:pt>
                <c:pt idx="190">
                  <c:v>74</c:v>
                </c:pt>
                <c:pt idx="191">
                  <c:v>15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2</c:v>
                </c:pt>
                <c:pt idx="196">
                  <c:v>22</c:v>
                </c:pt>
                <c:pt idx="197">
                  <c:v>12</c:v>
                </c:pt>
                <c:pt idx="198">
                  <c:v>37</c:v>
                </c:pt>
                <c:pt idx="199">
                  <c:v>19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3</c:v>
                </c:pt>
                <c:pt idx="205">
                  <c:v>32</c:v>
                </c:pt>
                <c:pt idx="206">
                  <c:v>7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6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2</c:v>
                </c:pt>
                <c:pt idx="224">
                  <c:v>4</c:v>
                </c:pt>
                <c:pt idx="225">
                  <c:v>4</c:v>
                </c:pt>
                <c:pt idx="226">
                  <c:v>4</c:v>
                </c:pt>
                <c:pt idx="227">
                  <c:v>2</c:v>
                </c:pt>
                <c:pt idx="228">
                  <c:v>1</c:v>
                </c:pt>
                <c:pt idx="229">
                  <c:v>2</c:v>
                </c:pt>
                <c:pt idx="230">
                  <c:v>8</c:v>
                </c:pt>
                <c:pt idx="231">
                  <c:v>5</c:v>
                </c:pt>
                <c:pt idx="232">
                  <c:v>3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1</c:v>
                </c:pt>
                <c:pt idx="248">
                  <c:v>2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8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9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6</c:v>
                </c:pt>
                <c:pt idx="455">
                  <c:v>15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1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8</c:v>
                </c:pt>
                <c:pt idx="469">
                  <c:v>27</c:v>
                </c:pt>
                <c:pt idx="470">
                  <c:v>17</c:v>
                </c:pt>
                <c:pt idx="471">
                  <c:v>8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7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3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5</c:v>
                </c:pt>
                <c:pt idx="511">
                  <c:v>38</c:v>
                </c:pt>
                <c:pt idx="512">
                  <c:v>39</c:v>
                </c:pt>
                <c:pt idx="513">
                  <c:v>25</c:v>
                </c:pt>
                <c:pt idx="514">
                  <c:v>47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5</c:v>
                </c:pt>
                <c:pt idx="524">
                  <c:v>89</c:v>
                </c:pt>
                <c:pt idx="525">
                  <c:v>51</c:v>
                </c:pt>
                <c:pt idx="526">
                  <c:v>29</c:v>
                </c:pt>
                <c:pt idx="527">
                  <c:v>40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2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3</c:v>
                </c:pt>
                <c:pt idx="538">
                  <c:v>39</c:v>
                </c:pt>
                <c:pt idx="539">
                  <c:v>62</c:v>
                </c:pt>
                <c:pt idx="540">
                  <c:v>47</c:v>
                </c:pt>
                <c:pt idx="541">
                  <c:v>22</c:v>
                </c:pt>
                <c:pt idx="542">
                  <c:v>40</c:v>
                </c:pt>
                <c:pt idx="543">
                  <c:v>10</c:v>
                </c:pt>
                <c:pt idx="544">
                  <c:v>5</c:v>
                </c:pt>
                <c:pt idx="545">
                  <c:v>41</c:v>
                </c:pt>
                <c:pt idx="546">
                  <c:v>24</c:v>
                </c:pt>
                <c:pt idx="547">
                  <c:v>33</c:v>
                </c:pt>
                <c:pt idx="548">
                  <c:v>16</c:v>
                </c:pt>
                <c:pt idx="549">
                  <c:v>18</c:v>
                </c:pt>
                <c:pt idx="550">
                  <c:v>10</c:v>
                </c:pt>
                <c:pt idx="551">
                  <c:v>7</c:v>
                </c:pt>
                <c:pt idx="552">
                  <c:v>30</c:v>
                </c:pt>
                <c:pt idx="553">
                  <c:v>56</c:v>
                </c:pt>
                <c:pt idx="554">
                  <c:v>19</c:v>
                </c:pt>
                <c:pt idx="555">
                  <c:v>26</c:v>
                </c:pt>
                <c:pt idx="556">
                  <c:v>18</c:v>
                </c:pt>
                <c:pt idx="557">
                  <c:v>4</c:v>
                </c:pt>
                <c:pt idx="558">
                  <c:v>3</c:v>
                </c:pt>
                <c:pt idx="559">
                  <c:v>17</c:v>
                </c:pt>
                <c:pt idx="560">
                  <c:v>18</c:v>
                </c:pt>
                <c:pt idx="561">
                  <c:v>19</c:v>
                </c:pt>
                <c:pt idx="562">
                  <c:v>24</c:v>
                </c:pt>
                <c:pt idx="563">
                  <c:v>16</c:v>
                </c:pt>
                <c:pt idx="564">
                  <c:v>5</c:v>
                </c:pt>
                <c:pt idx="565">
                  <c:v>4</c:v>
                </c:pt>
                <c:pt idx="566">
                  <c:v>24</c:v>
                </c:pt>
                <c:pt idx="567">
                  <c:v>29</c:v>
                </c:pt>
                <c:pt idx="568">
                  <c:v>14</c:v>
                </c:pt>
                <c:pt idx="569">
                  <c:v>31</c:v>
                </c:pt>
                <c:pt idx="57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X$1</c:f>
              <c:strCache>
                <c:ptCount val="23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</c:strCache>
            </c:strRef>
          </c:cat>
          <c:val>
            <c:numRef>
              <c:f>List1!$B$2:$X$2</c:f>
              <c:numCache>
                <c:formatCode>General</c:formatCode>
                <c:ptCount val="23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23</c:v>
                </c:pt>
                <c:pt idx="21">
                  <c:v>1877</c:v>
                </c:pt>
                <c:pt idx="22">
                  <c:v>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Sheet1!$B$2:$B$572</c:f>
              <c:numCache>
                <c:formatCode>#\ ##0_ ;\-#\ ##0\ </c:formatCode>
                <c:ptCount val="571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6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6</c:v>
                </c:pt>
                <c:pt idx="29">
                  <c:v>10</c:v>
                </c:pt>
                <c:pt idx="30">
                  <c:v>30</c:v>
                </c:pt>
                <c:pt idx="31">
                  <c:v>98</c:v>
                </c:pt>
                <c:pt idx="32">
                  <c:v>33</c:v>
                </c:pt>
                <c:pt idx="33">
                  <c:v>32</c:v>
                </c:pt>
                <c:pt idx="34">
                  <c:v>107</c:v>
                </c:pt>
                <c:pt idx="35">
                  <c:v>51</c:v>
                </c:pt>
                <c:pt idx="36">
                  <c:v>44</c:v>
                </c:pt>
                <c:pt idx="37">
                  <c:v>88</c:v>
                </c:pt>
                <c:pt idx="38">
                  <c:v>94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3</c:v>
                </c:pt>
                <c:pt idx="43">
                  <c:v>199</c:v>
                </c:pt>
                <c:pt idx="44">
                  <c:v>214</c:v>
                </c:pt>
                <c:pt idx="45">
                  <c:v>217</c:v>
                </c:pt>
                <c:pt idx="46">
                  <c:v>108</c:v>
                </c:pt>
                <c:pt idx="47">
                  <c:v>51</c:v>
                </c:pt>
                <c:pt idx="48">
                  <c:v>208</c:v>
                </c:pt>
                <c:pt idx="49">
                  <c:v>205</c:v>
                </c:pt>
                <c:pt idx="50">
                  <c:v>276</c:v>
                </c:pt>
                <c:pt idx="51">
                  <c:v>242</c:v>
                </c:pt>
                <c:pt idx="52">
                  <c:v>350</c:v>
                </c:pt>
                <c:pt idx="53">
                  <c:v>190</c:v>
                </c:pt>
                <c:pt idx="54">
                  <c:v>92</c:v>
                </c:pt>
                <c:pt idx="55">
                  <c:v>391</c:v>
                </c:pt>
                <c:pt idx="56">
                  <c:v>423</c:v>
                </c:pt>
                <c:pt idx="57">
                  <c:v>139</c:v>
                </c:pt>
                <c:pt idx="58">
                  <c:v>488</c:v>
                </c:pt>
                <c:pt idx="59">
                  <c:v>348</c:v>
                </c:pt>
                <c:pt idx="60">
                  <c:v>186</c:v>
                </c:pt>
                <c:pt idx="61">
                  <c:v>121</c:v>
                </c:pt>
                <c:pt idx="62">
                  <c:v>320</c:v>
                </c:pt>
                <c:pt idx="63">
                  <c:v>247</c:v>
                </c:pt>
                <c:pt idx="64">
                  <c:v>346</c:v>
                </c:pt>
                <c:pt idx="65">
                  <c:v>296</c:v>
                </c:pt>
                <c:pt idx="66">
                  <c:v>249</c:v>
                </c:pt>
                <c:pt idx="67">
                  <c:v>123</c:v>
                </c:pt>
                <c:pt idx="68">
                  <c:v>51</c:v>
                </c:pt>
                <c:pt idx="69">
                  <c:v>210</c:v>
                </c:pt>
                <c:pt idx="70">
                  <c:v>214</c:v>
                </c:pt>
                <c:pt idx="71">
                  <c:v>279</c:v>
                </c:pt>
                <c:pt idx="72">
                  <c:v>249</c:v>
                </c:pt>
                <c:pt idx="73">
                  <c:v>211</c:v>
                </c:pt>
                <c:pt idx="74">
                  <c:v>78</c:v>
                </c:pt>
                <c:pt idx="75">
                  <c:v>34</c:v>
                </c:pt>
                <c:pt idx="76">
                  <c:v>204</c:v>
                </c:pt>
                <c:pt idx="77">
                  <c:v>54</c:v>
                </c:pt>
                <c:pt idx="78">
                  <c:v>169</c:v>
                </c:pt>
                <c:pt idx="79">
                  <c:v>139</c:v>
                </c:pt>
                <c:pt idx="80">
                  <c:v>129</c:v>
                </c:pt>
                <c:pt idx="81">
                  <c:v>41</c:v>
                </c:pt>
                <c:pt idx="82">
                  <c:v>20</c:v>
                </c:pt>
                <c:pt idx="83">
                  <c:v>153</c:v>
                </c:pt>
                <c:pt idx="84">
                  <c:v>112</c:v>
                </c:pt>
                <c:pt idx="85">
                  <c:v>98</c:v>
                </c:pt>
                <c:pt idx="86">
                  <c:v>62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6</c:v>
                </c:pt>
                <c:pt idx="91">
                  <c:v>93</c:v>
                </c:pt>
                <c:pt idx="92">
                  <c:v>76</c:v>
                </c:pt>
                <c:pt idx="93">
                  <c:v>64</c:v>
                </c:pt>
                <c:pt idx="94">
                  <c:v>94</c:v>
                </c:pt>
                <c:pt idx="95">
                  <c:v>42</c:v>
                </c:pt>
                <c:pt idx="96">
                  <c:v>28</c:v>
                </c:pt>
                <c:pt idx="97">
                  <c:v>123</c:v>
                </c:pt>
                <c:pt idx="98">
                  <c:v>80</c:v>
                </c:pt>
                <c:pt idx="99">
                  <c:v>66</c:v>
                </c:pt>
                <c:pt idx="100">
                  <c:v>63</c:v>
                </c:pt>
                <c:pt idx="101">
                  <c:v>80</c:v>
                </c:pt>
                <c:pt idx="102">
                  <c:v>21</c:v>
                </c:pt>
                <c:pt idx="103">
                  <c:v>18</c:v>
                </c:pt>
                <c:pt idx="104">
                  <c:v>143</c:v>
                </c:pt>
                <c:pt idx="105">
                  <c:v>73</c:v>
                </c:pt>
                <c:pt idx="106">
                  <c:v>99</c:v>
                </c:pt>
                <c:pt idx="107">
                  <c:v>56</c:v>
                </c:pt>
                <c:pt idx="108">
                  <c:v>89</c:v>
                </c:pt>
                <c:pt idx="109">
                  <c:v>33</c:v>
                </c:pt>
                <c:pt idx="110">
                  <c:v>29</c:v>
                </c:pt>
                <c:pt idx="111">
                  <c:v>170</c:v>
                </c:pt>
                <c:pt idx="112">
                  <c:v>118</c:v>
                </c:pt>
                <c:pt idx="113">
                  <c:v>129</c:v>
                </c:pt>
                <c:pt idx="114">
                  <c:v>33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5</c:v>
                </c:pt>
                <c:pt idx="119">
                  <c:v>147</c:v>
                </c:pt>
                <c:pt idx="120">
                  <c:v>115</c:v>
                </c:pt>
                <c:pt idx="121">
                  <c:v>96</c:v>
                </c:pt>
                <c:pt idx="122">
                  <c:v>34</c:v>
                </c:pt>
                <c:pt idx="123">
                  <c:v>67</c:v>
                </c:pt>
                <c:pt idx="124">
                  <c:v>38</c:v>
                </c:pt>
                <c:pt idx="125">
                  <c:v>310</c:v>
                </c:pt>
                <c:pt idx="126">
                  <c:v>150</c:v>
                </c:pt>
                <c:pt idx="127">
                  <c:v>123</c:v>
                </c:pt>
                <c:pt idx="128">
                  <c:v>111</c:v>
                </c:pt>
                <c:pt idx="129">
                  <c:v>135</c:v>
                </c:pt>
                <c:pt idx="130">
                  <c:v>62</c:v>
                </c:pt>
                <c:pt idx="131">
                  <c:v>27</c:v>
                </c:pt>
                <c:pt idx="132">
                  <c:v>253</c:v>
                </c:pt>
                <c:pt idx="133">
                  <c:v>101</c:v>
                </c:pt>
                <c:pt idx="134">
                  <c:v>113</c:v>
                </c:pt>
                <c:pt idx="135">
                  <c:v>60</c:v>
                </c:pt>
                <c:pt idx="136">
                  <c:v>70</c:v>
                </c:pt>
                <c:pt idx="137">
                  <c:v>37</c:v>
                </c:pt>
                <c:pt idx="138">
                  <c:v>31</c:v>
                </c:pt>
                <c:pt idx="139">
                  <c:v>134</c:v>
                </c:pt>
                <c:pt idx="140">
                  <c:v>78</c:v>
                </c:pt>
                <c:pt idx="141">
                  <c:v>74</c:v>
                </c:pt>
                <c:pt idx="142">
                  <c:v>70</c:v>
                </c:pt>
                <c:pt idx="143">
                  <c:v>83</c:v>
                </c:pt>
                <c:pt idx="144">
                  <c:v>30</c:v>
                </c:pt>
                <c:pt idx="145">
                  <c:v>14</c:v>
                </c:pt>
                <c:pt idx="146">
                  <c:v>93</c:v>
                </c:pt>
                <c:pt idx="147">
                  <c:v>79</c:v>
                </c:pt>
                <c:pt idx="148">
                  <c:v>60</c:v>
                </c:pt>
                <c:pt idx="149">
                  <c:v>37</c:v>
                </c:pt>
                <c:pt idx="150">
                  <c:v>52</c:v>
                </c:pt>
                <c:pt idx="151">
                  <c:v>31</c:v>
                </c:pt>
                <c:pt idx="152">
                  <c:v>16</c:v>
                </c:pt>
                <c:pt idx="153">
                  <c:v>84</c:v>
                </c:pt>
                <c:pt idx="154">
                  <c:v>78</c:v>
                </c:pt>
                <c:pt idx="155">
                  <c:v>61</c:v>
                </c:pt>
                <c:pt idx="156">
                  <c:v>49</c:v>
                </c:pt>
                <c:pt idx="157">
                  <c:v>55</c:v>
                </c:pt>
                <c:pt idx="158">
                  <c:v>15</c:v>
                </c:pt>
                <c:pt idx="159">
                  <c:v>18</c:v>
                </c:pt>
                <c:pt idx="160">
                  <c:v>75</c:v>
                </c:pt>
                <c:pt idx="161">
                  <c:v>23</c:v>
                </c:pt>
                <c:pt idx="162">
                  <c:v>34</c:v>
                </c:pt>
                <c:pt idx="163">
                  <c:v>42</c:v>
                </c:pt>
                <c:pt idx="164">
                  <c:v>41</c:v>
                </c:pt>
                <c:pt idx="165">
                  <c:v>15</c:v>
                </c:pt>
                <c:pt idx="166">
                  <c:v>19</c:v>
                </c:pt>
                <c:pt idx="167">
                  <c:v>69</c:v>
                </c:pt>
                <c:pt idx="168">
                  <c:v>35</c:v>
                </c:pt>
                <c:pt idx="169">
                  <c:v>39</c:v>
                </c:pt>
                <c:pt idx="170">
                  <c:v>37</c:v>
                </c:pt>
                <c:pt idx="171">
                  <c:v>44</c:v>
                </c:pt>
                <c:pt idx="172">
                  <c:v>8</c:v>
                </c:pt>
                <c:pt idx="173">
                  <c:v>23</c:v>
                </c:pt>
                <c:pt idx="174">
                  <c:v>82</c:v>
                </c:pt>
                <c:pt idx="175">
                  <c:v>50</c:v>
                </c:pt>
                <c:pt idx="176">
                  <c:v>37</c:v>
                </c:pt>
                <c:pt idx="177">
                  <c:v>36</c:v>
                </c:pt>
                <c:pt idx="178">
                  <c:v>48</c:v>
                </c:pt>
                <c:pt idx="179">
                  <c:v>12</c:v>
                </c:pt>
                <c:pt idx="180">
                  <c:v>10</c:v>
                </c:pt>
                <c:pt idx="181">
                  <c:v>67</c:v>
                </c:pt>
                <c:pt idx="182">
                  <c:v>44</c:v>
                </c:pt>
                <c:pt idx="183">
                  <c:v>58</c:v>
                </c:pt>
                <c:pt idx="184">
                  <c:v>49</c:v>
                </c:pt>
                <c:pt idx="185">
                  <c:v>38</c:v>
                </c:pt>
                <c:pt idx="186">
                  <c:v>16</c:v>
                </c:pt>
                <c:pt idx="187">
                  <c:v>14</c:v>
                </c:pt>
                <c:pt idx="188">
                  <c:v>66</c:v>
                </c:pt>
                <c:pt idx="189">
                  <c:v>42</c:v>
                </c:pt>
                <c:pt idx="190">
                  <c:v>31</c:v>
                </c:pt>
                <c:pt idx="191">
                  <c:v>30</c:v>
                </c:pt>
                <c:pt idx="192">
                  <c:v>21</c:v>
                </c:pt>
                <c:pt idx="193">
                  <c:v>12</c:v>
                </c:pt>
                <c:pt idx="194">
                  <c:v>7</c:v>
                </c:pt>
                <c:pt idx="195">
                  <c:v>42</c:v>
                </c:pt>
                <c:pt idx="196">
                  <c:v>28</c:v>
                </c:pt>
                <c:pt idx="197">
                  <c:v>27</c:v>
                </c:pt>
                <c:pt idx="198">
                  <c:v>16</c:v>
                </c:pt>
                <c:pt idx="199">
                  <c:v>25</c:v>
                </c:pt>
                <c:pt idx="200">
                  <c:v>2</c:v>
                </c:pt>
                <c:pt idx="201">
                  <c:v>5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1</c:v>
                </c:pt>
                <c:pt idx="206">
                  <c:v>18</c:v>
                </c:pt>
                <c:pt idx="207">
                  <c:v>3</c:v>
                </c:pt>
                <c:pt idx="208">
                  <c:v>3</c:v>
                </c:pt>
                <c:pt idx="209">
                  <c:v>25</c:v>
                </c:pt>
                <c:pt idx="210">
                  <c:v>20</c:v>
                </c:pt>
                <c:pt idx="211">
                  <c:v>15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7</c:v>
                </c:pt>
                <c:pt idx="219">
                  <c:v>18</c:v>
                </c:pt>
                <c:pt idx="220">
                  <c:v>8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9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3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9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1</c:v>
                </c:pt>
                <c:pt idx="243">
                  <c:v>2</c:v>
                </c:pt>
                <c:pt idx="244">
                  <c:v>4</c:v>
                </c:pt>
                <c:pt idx="245">
                  <c:v>3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2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6</c:v>
                </c:pt>
                <c:pt idx="259">
                  <c:v>5</c:v>
                </c:pt>
                <c:pt idx="260">
                  <c:v>2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4</c:v>
                </c:pt>
                <c:pt idx="392">
                  <c:v>1</c:v>
                </c:pt>
                <c:pt idx="393">
                  <c:v>6</c:v>
                </c:pt>
                <c:pt idx="394">
                  <c:v>2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2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5</c:v>
                </c:pt>
                <c:pt idx="434">
                  <c:v>29</c:v>
                </c:pt>
                <c:pt idx="435">
                  <c:v>31</c:v>
                </c:pt>
                <c:pt idx="436">
                  <c:v>38</c:v>
                </c:pt>
                <c:pt idx="437">
                  <c:v>35</c:v>
                </c:pt>
                <c:pt idx="438">
                  <c:v>20</c:v>
                </c:pt>
                <c:pt idx="439">
                  <c:v>14</c:v>
                </c:pt>
                <c:pt idx="440">
                  <c:v>59</c:v>
                </c:pt>
                <c:pt idx="441">
                  <c:v>35</c:v>
                </c:pt>
                <c:pt idx="442">
                  <c:v>14</c:v>
                </c:pt>
                <c:pt idx="443">
                  <c:v>43</c:v>
                </c:pt>
                <c:pt idx="444">
                  <c:v>53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4</c:v>
                </c:pt>
                <c:pt idx="455">
                  <c:v>49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0</c:v>
                </c:pt>
                <c:pt idx="462">
                  <c:v>37</c:v>
                </c:pt>
                <c:pt idx="463">
                  <c:v>35</c:v>
                </c:pt>
                <c:pt idx="464">
                  <c:v>26</c:v>
                </c:pt>
                <c:pt idx="465">
                  <c:v>20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7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10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1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3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6</c:v>
                </c:pt>
                <c:pt idx="505">
                  <c:v>44</c:v>
                </c:pt>
                <c:pt idx="506">
                  <c:v>48</c:v>
                </c:pt>
                <c:pt idx="507">
                  <c:v>69</c:v>
                </c:pt>
                <c:pt idx="508">
                  <c:v>20</c:v>
                </c:pt>
                <c:pt idx="509">
                  <c:v>16</c:v>
                </c:pt>
                <c:pt idx="510">
                  <c:v>96</c:v>
                </c:pt>
                <c:pt idx="511">
                  <c:v>105</c:v>
                </c:pt>
                <c:pt idx="512">
                  <c:v>100</c:v>
                </c:pt>
                <c:pt idx="513">
                  <c:v>60</c:v>
                </c:pt>
                <c:pt idx="514">
                  <c:v>72</c:v>
                </c:pt>
                <c:pt idx="515">
                  <c:v>30</c:v>
                </c:pt>
                <c:pt idx="516">
                  <c:v>31</c:v>
                </c:pt>
                <c:pt idx="517">
                  <c:v>117</c:v>
                </c:pt>
                <c:pt idx="518">
                  <c:v>118</c:v>
                </c:pt>
                <c:pt idx="519">
                  <c:v>82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1</c:v>
                </c:pt>
                <c:pt idx="526">
                  <c:v>64</c:v>
                </c:pt>
                <c:pt idx="527">
                  <c:v>70</c:v>
                </c:pt>
                <c:pt idx="528">
                  <c:v>51</c:v>
                </c:pt>
                <c:pt idx="529">
                  <c:v>22</c:v>
                </c:pt>
                <c:pt idx="530">
                  <c:v>27</c:v>
                </c:pt>
                <c:pt idx="531">
                  <c:v>90</c:v>
                </c:pt>
                <c:pt idx="532">
                  <c:v>75</c:v>
                </c:pt>
                <c:pt idx="533">
                  <c:v>69</c:v>
                </c:pt>
                <c:pt idx="534">
                  <c:v>41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7</c:v>
                </c:pt>
                <c:pt idx="539">
                  <c:v>39</c:v>
                </c:pt>
                <c:pt idx="540">
                  <c:v>40</c:v>
                </c:pt>
                <c:pt idx="541">
                  <c:v>34</c:v>
                </c:pt>
                <c:pt idx="542">
                  <c:v>26</c:v>
                </c:pt>
                <c:pt idx="543">
                  <c:v>11</c:v>
                </c:pt>
                <c:pt idx="544">
                  <c:v>12</c:v>
                </c:pt>
                <c:pt idx="545">
                  <c:v>43</c:v>
                </c:pt>
                <c:pt idx="546">
                  <c:v>32</c:v>
                </c:pt>
                <c:pt idx="547">
                  <c:v>25</c:v>
                </c:pt>
                <c:pt idx="548">
                  <c:v>21</c:v>
                </c:pt>
                <c:pt idx="549">
                  <c:v>16</c:v>
                </c:pt>
                <c:pt idx="550">
                  <c:v>12</c:v>
                </c:pt>
                <c:pt idx="551">
                  <c:v>5</c:v>
                </c:pt>
                <c:pt idx="552">
                  <c:v>46</c:v>
                </c:pt>
                <c:pt idx="553">
                  <c:v>29</c:v>
                </c:pt>
                <c:pt idx="554">
                  <c:v>30</c:v>
                </c:pt>
                <c:pt idx="555">
                  <c:v>16</c:v>
                </c:pt>
                <c:pt idx="556">
                  <c:v>29</c:v>
                </c:pt>
                <c:pt idx="557">
                  <c:v>6</c:v>
                </c:pt>
                <c:pt idx="558">
                  <c:v>8</c:v>
                </c:pt>
                <c:pt idx="559">
                  <c:v>43</c:v>
                </c:pt>
                <c:pt idx="560">
                  <c:v>25</c:v>
                </c:pt>
                <c:pt idx="561">
                  <c:v>21</c:v>
                </c:pt>
                <c:pt idx="562">
                  <c:v>20</c:v>
                </c:pt>
                <c:pt idx="563">
                  <c:v>28</c:v>
                </c:pt>
                <c:pt idx="564">
                  <c:v>4</c:v>
                </c:pt>
                <c:pt idx="565">
                  <c:v>4</c:v>
                </c:pt>
                <c:pt idx="566">
                  <c:v>42</c:v>
                </c:pt>
                <c:pt idx="567">
                  <c:v>48</c:v>
                </c:pt>
                <c:pt idx="568">
                  <c:v>21</c:v>
                </c:pt>
                <c:pt idx="569">
                  <c:v>14</c:v>
                </c:pt>
                <c:pt idx="57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Sheet1!$B$2:$B$572</c:f>
              <c:numCache>
                <c:formatCode>#\ ##0_ ;\-#\ ##0\ </c:formatCode>
                <c:ptCount val="571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3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7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9</c:v>
                </c:pt>
                <c:pt idx="27">
                  <c:v>9</c:v>
                </c:pt>
                <c:pt idx="28">
                  <c:v>31</c:v>
                </c:pt>
                <c:pt idx="29">
                  <c:v>38</c:v>
                </c:pt>
                <c:pt idx="30">
                  <c:v>61</c:v>
                </c:pt>
                <c:pt idx="31">
                  <c:v>161</c:v>
                </c:pt>
                <c:pt idx="32">
                  <c:v>69</c:v>
                </c:pt>
                <c:pt idx="33">
                  <c:v>89</c:v>
                </c:pt>
                <c:pt idx="34">
                  <c:v>275</c:v>
                </c:pt>
                <c:pt idx="35">
                  <c:v>134</c:v>
                </c:pt>
                <c:pt idx="36">
                  <c:v>89</c:v>
                </c:pt>
                <c:pt idx="37">
                  <c:v>168</c:v>
                </c:pt>
                <c:pt idx="38">
                  <c:v>233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8</c:v>
                </c:pt>
                <c:pt idx="43">
                  <c:v>381</c:v>
                </c:pt>
                <c:pt idx="44">
                  <c:v>415</c:v>
                </c:pt>
                <c:pt idx="45">
                  <c:v>423</c:v>
                </c:pt>
                <c:pt idx="46">
                  <c:v>265</c:v>
                </c:pt>
                <c:pt idx="47">
                  <c:v>92</c:v>
                </c:pt>
                <c:pt idx="48">
                  <c:v>454</c:v>
                </c:pt>
                <c:pt idx="49">
                  <c:v>408</c:v>
                </c:pt>
                <c:pt idx="50">
                  <c:v>603</c:v>
                </c:pt>
                <c:pt idx="51">
                  <c:v>480</c:v>
                </c:pt>
                <c:pt idx="52">
                  <c:v>774</c:v>
                </c:pt>
                <c:pt idx="53">
                  <c:v>421</c:v>
                </c:pt>
                <c:pt idx="54">
                  <c:v>292</c:v>
                </c:pt>
                <c:pt idx="55">
                  <c:v>782</c:v>
                </c:pt>
                <c:pt idx="56">
                  <c:v>960</c:v>
                </c:pt>
                <c:pt idx="57">
                  <c:v>405</c:v>
                </c:pt>
                <c:pt idx="58">
                  <c:v>1036</c:v>
                </c:pt>
                <c:pt idx="59">
                  <c:v>937</c:v>
                </c:pt>
                <c:pt idx="60">
                  <c:v>526</c:v>
                </c:pt>
                <c:pt idx="61">
                  <c:v>338</c:v>
                </c:pt>
                <c:pt idx="62">
                  <c:v>657</c:v>
                </c:pt>
                <c:pt idx="63">
                  <c:v>598</c:v>
                </c:pt>
                <c:pt idx="64">
                  <c:v>773</c:v>
                </c:pt>
                <c:pt idx="65">
                  <c:v>838</c:v>
                </c:pt>
                <c:pt idx="66">
                  <c:v>750</c:v>
                </c:pt>
                <c:pt idx="67">
                  <c:v>339</c:v>
                </c:pt>
                <c:pt idx="68">
                  <c:v>134</c:v>
                </c:pt>
                <c:pt idx="69">
                  <c:v>419</c:v>
                </c:pt>
                <c:pt idx="70">
                  <c:v>601</c:v>
                </c:pt>
                <c:pt idx="71">
                  <c:v>963</c:v>
                </c:pt>
                <c:pt idx="72">
                  <c:v>755</c:v>
                </c:pt>
                <c:pt idx="73">
                  <c:v>697</c:v>
                </c:pt>
                <c:pt idx="74">
                  <c:v>264</c:v>
                </c:pt>
                <c:pt idx="75">
                  <c:v>204</c:v>
                </c:pt>
                <c:pt idx="76">
                  <c:v>596</c:v>
                </c:pt>
                <c:pt idx="77">
                  <c:v>193</c:v>
                </c:pt>
                <c:pt idx="78">
                  <c:v>443</c:v>
                </c:pt>
                <c:pt idx="79">
                  <c:v>415</c:v>
                </c:pt>
                <c:pt idx="80">
                  <c:v>375</c:v>
                </c:pt>
                <c:pt idx="81">
                  <c:v>137</c:v>
                </c:pt>
                <c:pt idx="82">
                  <c:v>113</c:v>
                </c:pt>
                <c:pt idx="83">
                  <c:v>539</c:v>
                </c:pt>
                <c:pt idx="84">
                  <c:v>314</c:v>
                </c:pt>
                <c:pt idx="85">
                  <c:v>229</c:v>
                </c:pt>
                <c:pt idx="86">
                  <c:v>261</c:v>
                </c:pt>
                <c:pt idx="87">
                  <c:v>224</c:v>
                </c:pt>
                <c:pt idx="88">
                  <c:v>102</c:v>
                </c:pt>
                <c:pt idx="89">
                  <c:v>45</c:v>
                </c:pt>
                <c:pt idx="90">
                  <c:v>330</c:v>
                </c:pt>
                <c:pt idx="91">
                  <c:v>219</c:v>
                </c:pt>
                <c:pt idx="92">
                  <c:v>212</c:v>
                </c:pt>
                <c:pt idx="93">
                  <c:v>197</c:v>
                </c:pt>
                <c:pt idx="94">
                  <c:v>244</c:v>
                </c:pt>
                <c:pt idx="95">
                  <c:v>131</c:v>
                </c:pt>
                <c:pt idx="96">
                  <c:v>51</c:v>
                </c:pt>
                <c:pt idx="97">
                  <c:v>269</c:v>
                </c:pt>
                <c:pt idx="98">
                  <c:v>172</c:v>
                </c:pt>
                <c:pt idx="99">
                  <c:v>208</c:v>
                </c:pt>
                <c:pt idx="100">
                  <c:v>148</c:v>
                </c:pt>
                <c:pt idx="101">
                  <c:v>320</c:v>
                </c:pt>
                <c:pt idx="102">
                  <c:v>88</c:v>
                </c:pt>
                <c:pt idx="103">
                  <c:v>69</c:v>
                </c:pt>
                <c:pt idx="104">
                  <c:v>293</c:v>
                </c:pt>
                <c:pt idx="105">
                  <c:v>207</c:v>
                </c:pt>
                <c:pt idx="106">
                  <c:v>199</c:v>
                </c:pt>
                <c:pt idx="107">
                  <c:v>126</c:v>
                </c:pt>
                <c:pt idx="108">
                  <c:v>313</c:v>
                </c:pt>
                <c:pt idx="109">
                  <c:v>94</c:v>
                </c:pt>
                <c:pt idx="110">
                  <c:v>51</c:v>
                </c:pt>
                <c:pt idx="111">
                  <c:v>350</c:v>
                </c:pt>
                <c:pt idx="112">
                  <c:v>296</c:v>
                </c:pt>
                <c:pt idx="113">
                  <c:v>253</c:v>
                </c:pt>
                <c:pt idx="114">
                  <c:v>52</c:v>
                </c:pt>
                <c:pt idx="115">
                  <c:v>124</c:v>
                </c:pt>
                <c:pt idx="116">
                  <c:v>134</c:v>
                </c:pt>
                <c:pt idx="117">
                  <c:v>147</c:v>
                </c:pt>
                <c:pt idx="118">
                  <c:v>361</c:v>
                </c:pt>
                <c:pt idx="119">
                  <c:v>332</c:v>
                </c:pt>
                <c:pt idx="120">
                  <c:v>263</c:v>
                </c:pt>
                <c:pt idx="121">
                  <c:v>233</c:v>
                </c:pt>
                <c:pt idx="122">
                  <c:v>101</c:v>
                </c:pt>
                <c:pt idx="123">
                  <c:v>129</c:v>
                </c:pt>
                <c:pt idx="124">
                  <c:v>81</c:v>
                </c:pt>
                <c:pt idx="125">
                  <c:v>581</c:v>
                </c:pt>
                <c:pt idx="126">
                  <c:v>306</c:v>
                </c:pt>
                <c:pt idx="127">
                  <c:v>287</c:v>
                </c:pt>
                <c:pt idx="128">
                  <c:v>347</c:v>
                </c:pt>
                <c:pt idx="129">
                  <c:v>325</c:v>
                </c:pt>
                <c:pt idx="130">
                  <c:v>128</c:v>
                </c:pt>
                <c:pt idx="131">
                  <c:v>64</c:v>
                </c:pt>
                <c:pt idx="132">
                  <c:v>498</c:v>
                </c:pt>
                <c:pt idx="133">
                  <c:v>231</c:v>
                </c:pt>
                <c:pt idx="134">
                  <c:v>288</c:v>
                </c:pt>
                <c:pt idx="135">
                  <c:v>159</c:v>
                </c:pt>
                <c:pt idx="136">
                  <c:v>162</c:v>
                </c:pt>
                <c:pt idx="137">
                  <c:v>73</c:v>
                </c:pt>
                <c:pt idx="138">
                  <c:v>80</c:v>
                </c:pt>
                <c:pt idx="139">
                  <c:v>301</c:v>
                </c:pt>
                <c:pt idx="140">
                  <c:v>162</c:v>
                </c:pt>
                <c:pt idx="141">
                  <c:v>221</c:v>
                </c:pt>
                <c:pt idx="142">
                  <c:v>178</c:v>
                </c:pt>
                <c:pt idx="143">
                  <c:v>202</c:v>
                </c:pt>
                <c:pt idx="144">
                  <c:v>84</c:v>
                </c:pt>
                <c:pt idx="145">
                  <c:v>40</c:v>
                </c:pt>
                <c:pt idx="146">
                  <c:v>181</c:v>
                </c:pt>
                <c:pt idx="147">
                  <c:v>122</c:v>
                </c:pt>
                <c:pt idx="148">
                  <c:v>156</c:v>
                </c:pt>
                <c:pt idx="149">
                  <c:v>105</c:v>
                </c:pt>
                <c:pt idx="150">
                  <c:v>90</c:v>
                </c:pt>
                <c:pt idx="151">
                  <c:v>80</c:v>
                </c:pt>
                <c:pt idx="152">
                  <c:v>26</c:v>
                </c:pt>
                <c:pt idx="153">
                  <c:v>192</c:v>
                </c:pt>
                <c:pt idx="154">
                  <c:v>176</c:v>
                </c:pt>
                <c:pt idx="155">
                  <c:v>164</c:v>
                </c:pt>
                <c:pt idx="156">
                  <c:v>135</c:v>
                </c:pt>
                <c:pt idx="157">
                  <c:v>141</c:v>
                </c:pt>
                <c:pt idx="158">
                  <c:v>59</c:v>
                </c:pt>
                <c:pt idx="159">
                  <c:v>35</c:v>
                </c:pt>
                <c:pt idx="160">
                  <c:v>141</c:v>
                </c:pt>
                <c:pt idx="161">
                  <c:v>90</c:v>
                </c:pt>
                <c:pt idx="162">
                  <c:v>102</c:v>
                </c:pt>
                <c:pt idx="163">
                  <c:v>112</c:v>
                </c:pt>
                <c:pt idx="164">
                  <c:v>93</c:v>
                </c:pt>
                <c:pt idx="165">
                  <c:v>24</c:v>
                </c:pt>
                <c:pt idx="166">
                  <c:v>33</c:v>
                </c:pt>
                <c:pt idx="167">
                  <c:v>107</c:v>
                </c:pt>
                <c:pt idx="168">
                  <c:v>54</c:v>
                </c:pt>
                <c:pt idx="169">
                  <c:v>69</c:v>
                </c:pt>
                <c:pt idx="170">
                  <c:v>68</c:v>
                </c:pt>
                <c:pt idx="171">
                  <c:v>73</c:v>
                </c:pt>
                <c:pt idx="172">
                  <c:v>27</c:v>
                </c:pt>
                <c:pt idx="173">
                  <c:v>31</c:v>
                </c:pt>
                <c:pt idx="174">
                  <c:v>174</c:v>
                </c:pt>
                <c:pt idx="175">
                  <c:v>87</c:v>
                </c:pt>
                <c:pt idx="176">
                  <c:v>73</c:v>
                </c:pt>
                <c:pt idx="177">
                  <c:v>82</c:v>
                </c:pt>
                <c:pt idx="178">
                  <c:v>97</c:v>
                </c:pt>
                <c:pt idx="179">
                  <c:v>23</c:v>
                </c:pt>
                <c:pt idx="180">
                  <c:v>13</c:v>
                </c:pt>
                <c:pt idx="181">
                  <c:v>146</c:v>
                </c:pt>
                <c:pt idx="182">
                  <c:v>73</c:v>
                </c:pt>
                <c:pt idx="183">
                  <c:v>102</c:v>
                </c:pt>
                <c:pt idx="184">
                  <c:v>60</c:v>
                </c:pt>
                <c:pt idx="185">
                  <c:v>64</c:v>
                </c:pt>
                <c:pt idx="186">
                  <c:v>21</c:v>
                </c:pt>
                <c:pt idx="187">
                  <c:v>20</c:v>
                </c:pt>
                <c:pt idx="188">
                  <c:v>94</c:v>
                </c:pt>
                <c:pt idx="189">
                  <c:v>157</c:v>
                </c:pt>
                <c:pt idx="190">
                  <c:v>105</c:v>
                </c:pt>
                <c:pt idx="191">
                  <c:v>45</c:v>
                </c:pt>
                <c:pt idx="192">
                  <c:v>55</c:v>
                </c:pt>
                <c:pt idx="193">
                  <c:v>21</c:v>
                </c:pt>
                <c:pt idx="194">
                  <c:v>14</c:v>
                </c:pt>
                <c:pt idx="195">
                  <c:v>74</c:v>
                </c:pt>
                <c:pt idx="196">
                  <c:v>50</c:v>
                </c:pt>
                <c:pt idx="197">
                  <c:v>39</c:v>
                </c:pt>
                <c:pt idx="198">
                  <c:v>53</c:v>
                </c:pt>
                <c:pt idx="199">
                  <c:v>44</c:v>
                </c:pt>
                <c:pt idx="200">
                  <c:v>12</c:v>
                </c:pt>
                <c:pt idx="201">
                  <c:v>9</c:v>
                </c:pt>
                <c:pt idx="202">
                  <c:v>52</c:v>
                </c:pt>
                <c:pt idx="203">
                  <c:v>50</c:v>
                </c:pt>
                <c:pt idx="204">
                  <c:v>34</c:v>
                </c:pt>
                <c:pt idx="205">
                  <c:v>43</c:v>
                </c:pt>
                <c:pt idx="206">
                  <c:v>25</c:v>
                </c:pt>
                <c:pt idx="207">
                  <c:v>6</c:v>
                </c:pt>
                <c:pt idx="208">
                  <c:v>7</c:v>
                </c:pt>
                <c:pt idx="209">
                  <c:v>47</c:v>
                </c:pt>
                <c:pt idx="210">
                  <c:v>33</c:v>
                </c:pt>
                <c:pt idx="211">
                  <c:v>26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8</c:v>
                </c:pt>
                <c:pt idx="218">
                  <c:v>36</c:v>
                </c:pt>
                <c:pt idx="219">
                  <c:v>20</c:v>
                </c:pt>
                <c:pt idx="220">
                  <c:v>11</c:v>
                </c:pt>
                <c:pt idx="221">
                  <c:v>7</c:v>
                </c:pt>
                <c:pt idx="222">
                  <c:v>1</c:v>
                </c:pt>
                <c:pt idx="223">
                  <c:v>11</c:v>
                </c:pt>
                <c:pt idx="224">
                  <c:v>13</c:v>
                </c:pt>
                <c:pt idx="225">
                  <c:v>9</c:v>
                </c:pt>
                <c:pt idx="226">
                  <c:v>11</c:v>
                </c:pt>
                <c:pt idx="227">
                  <c:v>9</c:v>
                </c:pt>
                <c:pt idx="228">
                  <c:v>2</c:v>
                </c:pt>
                <c:pt idx="229">
                  <c:v>3</c:v>
                </c:pt>
                <c:pt idx="230">
                  <c:v>21</c:v>
                </c:pt>
                <c:pt idx="231">
                  <c:v>12</c:v>
                </c:pt>
                <c:pt idx="232">
                  <c:v>10</c:v>
                </c:pt>
                <c:pt idx="233">
                  <c:v>22</c:v>
                </c:pt>
                <c:pt idx="234">
                  <c:v>11</c:v>
                </c:pt>
                <c:pt idx="235">
                  <c:v>2</c:v>
                </c:pt>
                <c:pt idx="236">
                  <c:v>0</c:v>
                </c:pt>
                <c:pt idx="237">
                  <c:v>11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1</c:v>
                </c:pt>
                <c:pt idx="243">
                  <c:v>2</c:v>
                </c:pt>
                <c:pt idx="244">
                  <c:v>6</c:v>
                </c:pt>
                <c:pt idx="245">
                  <c:v>3</c:v>
                </c:pt>
                <c:pt idx="246">
                  <c:v>4</c:v>
                </c:pt>
                <c:pt idx="247">
                  <c:v>6</c:v>
                </c:pt>
                <c:pt idx="248">
                  <c:v>4</c:v>
                </c:pt>
                <c:pt idx="249">
                  <c:v>2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9</c:v>
                </c:pt>
                <c:pt idx="259">
                  <c:v>5</c:v>
                </c:pt>
                <c:pt idx="260">
                  <c:v>4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2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6</c:v>
                </c:pt>
                <c:pt idx="392">
                  <c:v>1</c:v>
                </c:pt>
                <c:pt idx="393">
                  <c:v>7</c:v>
                </c:pt>
                <c:pt idx="394">
                  <c:v>2</c:v>
                </c:pt>
                <c:pt idx="395">
                  <c:v>2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0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7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7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5</c:v>
                </c:pt>
                <c:pt idx="434">
                  <c:v>59</c:v>
                </c:pt>
                <c:pt idx="435">
                  <c:v>47</c:v>
                </c:pt>
                <c:pt idx="436">
                  <c:v>57</c:v>
                </c:pt>
                <c:pt idx="437">
                  <c:v>52</c:v>
                </c:pt>
                <c:pt idx="438">
                  <c:v>33</c:v>
                </c:pt>
                <c:pt idx="439">
                  <c:v>29</c:v>
                </c:pt>
                <c:pt idx="440">
                  <c:v>102</c:v>
                </c:pt>
                <c:pt idx="441">
                  <c:v>67</c:v>
                </c:pt>
                <c:pt idx="442">
                  <c:v>39</c:v>
                </c:pt>
                <c:pt idx="443">
                  <c:v>99</c:v>
                </c:pt>
                <c:pt idx="444">
                  <c:v>138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8</c:v>
                </c:pt>
                <c:pt idx="449">
                  <c:v>91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90</c:v>
                </c:pt>
                <c:pt idx="455">
                  <c:v>64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1</c:v>
                </c:pt>
                <c:pt idx="462">
                  <c:v>59</c:v>
                </c:pt>
                <c:pt idx="463">
                  <c:v>53</c:v>
                </c:pt>
                <c:pt idx="464">
                  <c:v>57</c:v>
                </c:pt>
                <c:pt idx="465">
                  <c:v>50</c:v>
                </c:pt>
                <c:pt idx="466">
                  <c:v>19</c:v>
                </c:pt>
                <c:pt idx="467">
                  <c:v>10</c:v>
                </c:pt>
                <c:pt idx="468">
                  <c:v>53</c:v>
                </c:pt>
                <c:pt idx="469">
                  <c:v>64</c:v>
                </c:pt>
                <c:pt idx="470">
                  <c:v>44</c:v>
                </c:pt>
                <c:pt idx="471">
                  <c:v>26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3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4</c:v>
                </c:pt>
                <c:pt idx="484">
                  <c:v>16</c:v>
                </c:pt>
                <c:pt idx="485">
                  <c:v>12</c:v>
                </c:pt>
                <c:pt idx="486">
                  <c:v>16</c:v>
                </c:pt>
                <c:pt idx="487">
                  <c:v>4</c:v>
                </c:pt>
                <c:pt idx="488">
                  <c:v>4</c:v>
                </c:pt>
                <c:pt idx="489">
                  <c:v>25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19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1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9</c:v>
                </c:pt>
                <c:pt idx="505">
                  <c:v>55</c:v>
                </c:pt>
                <c:pt idx="506">
                  <c:v>70</c:v>
                </c:pt>
                <c:pt idx="507">
                  <c:v>85</c:v>
                </c:pt>
                <c:pt idx="508">
                  <c:v>52</c:v>
                </c:pt>
                <c:pt idx="509">
                  <c:v>22</c:v>
                </c:pt>
                <c:pt idx="510">
                  <c:v>141</c:v>
                </c:pt>
                <c:pt idx="511">
                  <c:v>143</c:v>
                </c:pt>
                <c:pt idx="512">
                  <c:v>139</c:v>
                </c:pt>
                <c:pt idx="513">
                  <c:v>85</c:v>
                </c:pt>
                <c:pt idx="514">
                  <c:v>119</c:v>
                </c:pt>
                <c:pt idx="515">
                  <c:v>34</c:v>
                </c:pt>
                <c:pt idx="516">
                  <c:v>37</c:v>
                </c:pt>
                <c:pt idx="517">
                  <c:v>159</c:v>
                </c:pt>
                <c:pt idx="518">
                  <c:v>171</c:v>
                </c:pt>
                <c:pt idx="519">
                  <c:v>115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40</c:v>
                </c:pt>
                <c:pt idx="524">
                  <c:v>222</c:v>
                </c:pt>
                <c:pt idx="525">
                  <c:v>142</c:v>
                </c:pt>
                <c:pt idx="526">
                  <c:v>93</c:v>
                </c:pt>
                <c:pt idx="527">
                  <c:v>110</c:v>
                </c:pt>
                <c:pt idx="528">
                  <c:v>116</c:v>
                </c:pt>
                <c:pt idx="529">
                  <c:v>42</c:v>
                </c:pt>
                <c:pt idx="530">
                  <c:v>43</c:v>
                </c:pt>
                <c:pt idx="531">
                  <c:v>152</c:v>
                </c:pt>
                <c:pt idx="532">
                  <c:v>129</c:v>
                </c:pt>
                <c:pt idx="533">
                  <c:v>119</c:v>
                </c:pt>
                <c:pt idx="534">
                  <c:v>122</c:v>
                </c:pt>
                <c:pt idx="535">
                  <c:v>68</c:v>
                </c:pt>
                <c:pt idx="536">
                  <c:v>32</c:v>
                </c:pt>
                <c:pt idx="537">
                  <c:v>24</c:v>
                </c:pt>
                <c:pt idx="538">
                  <c:v>106</c:v>
                </c:pt>
                <c:pt idx="539">
                  <c:v>101</c:v>
                </c:pt>
                <c:pt idx="540">
                  <c:v>87</c:v>
                </c:pt>
                <c:pt idx="541">
                  <c:v>56</c:v>
                </c:pt>
                <c:pt idx="542">
                  <c:v>66</c:v>
                </c:pt>
                <c:pt idx="543">
                  <c:v>21</c:v>
                </c:pt>
                <c:pt idx="544">
                  <c:v>17</c:v>
                </c:pt>
                <c:pt idx="545">
                  <c:v>84</c:v>
                </c:pt>
                <c:pt idx="546">
                  <c:v>56</c:v>
                </c:pt>
                <c:pt idx="547">
                  <c:v>58</c:v>
                </c:pt>
                <c:pt idx="548">
                  <c:v>37</c:v>
                </c:pt>
                <c:pt idx="549">
                  <c:v>34</c:v>
                </c:pt>
                <c:pt idx="550">
                  <c:v>22</c:v>
                </c:pt>
                <c:pt idx="551" formatCode="General">
                  <c:v>12</c:v>
                </c:pt>
                <c:pt idx="552" formatCode="General">
                  <c:v>76</c:v>
                </c:pt>
                <c:pt idx="553" formatCode="General">
                  <c:v>85</c:v>
                </c:pt>
                <c:pt idx="554" formatCode="General">
                  <c:v>49</c:v>
                </c:pt>
                <c:pt idx="555" formatCode="General">
                  <c:v>42</c:v>
                </c:pt>
                <c:pt idx="556" formatCode="General">
                  <c:v>47</c:v>
                </c:pt>
                <c:pt idx="557" formatCode="General">
                  <c:v>10</c:v>
                </c:pt>
                <c:pt idx="558" formatCode="General">
                  <c:v>11</c:v>
                </c:pt>
                <c:pt idx="559" formatCode="General">
                  <c:v>60</c:v>
                </c:pt>
                <c:pt idx="560" formatCode="General">
                  <c:v>43</c:v>
                </c:pt>
                <c:pt idx="561" formatCode="General">
                  <c:v>40</c:v>
                </c:pt>
                <c:pt idx="562" formatCode="General">
                  <c:v>44</c:v>
                </c:pt>
                <c:pt idx="563" formatCode="General">
                  <c:v>44</c:v>
                </c:pt>
                <c:pt idx="564" formatCode="General">
                  <c:v>9</c:v>
                </c:pt>
                <c:pt idx="565" formatCode="General">
                  <c:v>8</c:v>
                </c:pt>
                <c:pt idx="566" formatCode="General">
                  <c:v>66</c:v>
                </c:pt>
                <c:pt idx="567" formatCode="General">
                  <c:v>77</c:v>
                </c:pt>
                <c:pt idx="568" formatCode="General">
                  <c:v>35</c:v>
                </c:pt>
                <c:pt idx="569" formatCode="General">
                  <c:v>45</c:v>
                </c:pt>
                <c:pt idx="570" formatCode="General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2</c:f>
              <c:numCache>
                <c:formatCode>m/d/yyyy</c:formatCode>
                <c:ptCount val="5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</c:numCache>
            </c:numRef>
          </c:cat>
          <c:val>
            <c:numRef>
              <c:f>Sheet1!$B$2:$B$572</c:f>
              <c:numCache>
                <c:formatCode>#\ ##0_ ;\-#\ ##0\ </c:formatCode>
                <c:ptCount val="5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7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6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7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5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3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3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  <c:pt idx="551">
                  <c:v>1</c:v>
                </c:pt>
                <c:pt idx="552">
                  <c:v>1</c:v>
                </c:pt>
                <c:pt idx="553">
                  <c:v>5</c:v>
                </c:pt>
                <c:pt idx="554">
                  <c:v>3</c:v>
                </c:pt>
                <c:pt idx="555">
                  <c:v>5</c:v>
                </c:pt>
                <c:pt idx="556">
                  <c:v>1</c:v>
                </c:pt>
                <c:pt idx="557">
                  <c:v>1</c:v>
                </c:pt>
                <c:pt idx="558">
                  <c:v>1</c:v>
                </c:pt>
                <c:pt idx="559">
                  <c:v>1</c:v>
                </c:pt>
                <c:pt idx="560">
                  <c:v>3</c:v>
                </c:pt>
                <c:pt idx="561">
                  <c:v>1</c:v>
                </c:pt>
                <c:pt idx="562">
                  <c:v>0</c:v>
                </c:pt>
                <c:pt idx="563">
                  <c:v>1</c:v>
                </c:pt>
                <c:pt idx="564">
                  <c:v>1</c:v>
                </c:pt>
                <c:pt idx="565">
                  <c:v>2</c:v>
                </c:pt>
                <c:pt idx="566">
                  <c:v>1</c:v>
                </c:pt>
                <c:pt idx="567">
                  <c:v>0</c:v>
                </c:pt>
                <c:pt idx="568">
                  <c:v>1</c:v>
                </c:pt>
                <c:pt idx="569">
                  <c:v>1</c:v>
                </c:pt>
                <c:pt idx="57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2</c:f>
              <c:numCache>
                <c:formatCode>m/d/yyyy</c:formatCode>
                <c:ptCount val="491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  <c:pt idx="484">
                  <c:v>44639</c:v>
                </c:pt>
                <c:pt idx="485">
                  <c:v>44640</c:v>
                </c:pt>
                <c:pt idx="486">
                  <c:v>44641</c:v>
                </c:pt>
                <c:pt idx="487">
                  <c:v>44642</c:v>
                </c:pt>
                <c:pt idx="488">
                  <c:v>44643</c:v>
                </c:pt>
                <c:pt idx="489">
                  <c:v>44644</c:v>
                </c:pt>
                <c:pt idx="490">
                  <c:v>44645</c:v>
                </c:pt>
              </c:numCache>
            </c:numRef>
          </c:cat>
          <c:val>
            <c:numRef>
              <c:f>Sheet1!$B$2:$B$492</c:f>
              <c:numCache>
                <c:formatCode>General</c:formatCode>
                <c:ptCount val="49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7</c:v>
                </c:pt>
                <c:pt idx="43">
                  <c:v>17</c:v>
                </c:pt>
                <c:pt idx="44">
                  <c:v>42</c:v>
                </c:pt>
                <c:pt idx="45">
                  <c:v>42</c:v>
                </c:pt>
                <c:pt idx="46">
                  <c:v>59</c:v>
                </c:pt>
                <c:pt idx="47">
                  <c:v>64</c:v>
                </c:pt>
                <c:pt idx="48">
                  <c:v>79</c:v>
                </c:pt>
                <c:pt idx="49">
                  <c:v>47</c:v>
                </c:pt>
                <c:pt idx="50">
                  <c:v>38</c:v>
                </c:pt>
                <c:pt idx="51">
                  <c:v>83</c:v>
                </c:pt>
                <c:pt idx="52">
                  <c:v>75</c:v>
                </c:pt>
                <c:pt idx="53">
                  <c:v>44</c:v>
                </c:pt>
                <c:pt idx="54">
                  <c:v>93</c:v>
                </c:pt>
                <c:pt idx="55">
                  <c:v>103</c:v>
                </c:pt>
                <c:pt idx="56">
                  <c:v>38</c:v>
                </c:pt>
                <c:pt idx="57">
                  <c:v>41</c:v>
                </c:pt>
                <c:pt idx="58">
                  <c:v>65</c:v>
                </c:pt>
                <c:pt idx="59">
                  <c:v>65</c:v>
                </c:pt>
                <c:pt idx="60">
                  <c:v>70</c:v>
                </c:pt>
                <c:pt idx="61">
                  <c:v>84</c:v>
                </c:pt>
                <c:pt idx="62">
                  <c:v>91</c:v>
                </c:pt>
                <c:pt idx="63">
                  <c:v>33</c:v>
                </c:pt>
                <c:pt idx="64">
                  <c:v>19</c:v>
                </c:pt>
                <c:pt idx="65">
                  <c:v>56</c:v>
                </c:pt>
                <c:pt idx="66">
                  <c:v>75</c:v>
                </c:pt>
                <c:pt idx="67">
                  <c:v>123</c:v>
                </c:pt>
                <c:pt idx="68">
                  <c:v>98</c:v>
                </c:pt>
                <c:pt idx="69">
                  <c:v>84</c:v>
                </c:pt>
                <c:pt idx="70">
                  <c:v>48</c:v>
                </c:pt>
                <c:pt idx="71">
                  <c:v>28</c:v>
                </c:pt>
                <c:pt idx="72">
                  <c:v>72</c:v>
                </c:pt>
                <c:pt idx="73">
                  <c:v>26</c:v>
                </c:pt>
                <c:pt idx="74">
                  <c:v>54</c:v>
                </c:pt>
                <c:pt idx="75">
                  <c:v>62</c:v>
                </c:pt>
                <c:pt idx="76">
                  <c:v>54</c:v>
                </c:pt>
                <c:pt idx="77">
                  <c:v>22</c:v>
                </c:pt>
                <c:pt idx="78">
                  <c:v>13</c:v>
                </c:pt>
                <c:pt idx="79">
                  <c:v>78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5</c:v>
                </c:pt>
                <c:pt idx="88">
                  <c:v>29</c:v>
                </c:pt>
                <c:pt idx="89">
                  <c:v>26</c:v>
                </c:pt>
                <c:pt idx="90">
                  <c:v>44</c:v>
                </c:pt>
                <c:pt idx="91">
                  <c:v>20</c:v>
                </c:pt>
                <c:pt idx="92">
                  <c:v>10</c:v>
                </c:pt>
                <c:pt idx="93">
                  <c:v>40</c:v>
                </c:pt>
                <c:pt idx="94">
                  <c:v>30</c:v>
                </c:pt>
                <c:pt idx="95">
                  <c:v>33</c:v>
                </c:pt>
                <c:pt idx="96">
                  <c:v>30</c:v>
                </c:pt>
                <c:pt idx="97">
                  <c:v>36</c:v>
                </c:pt>
                <c:pt idx="98">
                  <c:v>17</c:v>
                </c:pt>
                <c:pt idx="99">
                  <c:v>25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40</c:v>
                </c:pt>
                <c:pt idx="105">
                  <c:v>15</c:v>
                </c:pt>
                <c:pt idx="106">
                  <c:v>8</c:v>
                </c:pt>
                <c:pt idx="107">
                  <c:v>30</c:v>
                </c:pt>
                <c:pt idx="108">
                  <c:v>43</c:v>
                </c:pt>
                <c:pt idx="109">
                  <c:v>22</c:v>
                </c:pt>
                <c:pt idx="110">
                  <c:v>6</c:v>
                </c:pt>
                <c:pt idx="111">
                  <c:v>23</c:v>
                </c:pt>
                <c:pt idx="112">
                  <c:v>19</c:v>
                </c:pt>
                <c:pt idx="113">
                  <c:v>20</c:v>
                </c:pt>
                <c:pt idx="114">
                  <c:v>21</c:v>
                </c:pt>
                <c:pt idx="115">
                  <c:v>46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4</c:v>
                </c:pt>
                <c:pt idx="122">
                  <c:v>32</c:v>
                </c:pt>
                <c:pt idx="123">
                  <c:v>37</c:v>
                </c:pt>
                <c:pt idx="124">
                  <c:v>45</c:v>
                </c:pt>
                <c:pt idx="125">
                  <c:v>39</c:v>
                </c:pt>
                <c:pt idx="126">
                  <c:v>16</c:v>
                </c:pt>
                <c:pt idx="127">
                  <c:v>10</c:v>
                </c:pt>
                <c:pt idx="128">
                  <c:v>57</c:v>
                </c:pt>
                <c:pt idx="129">
                  <c:v>27</c:v>
                </c:pt>
                <c:pt idx="130">
                  <c:v>22</c:v>
                </c:pt>
                <c:pt idx="131">
                  <c:v>14</c:v>
                </c:pt>
                <c:pt idx="132">
                  <c:v>24</c:v>
                </c:pt>
                <c:pt idx="133">
                  <c:v>13</c:v>
                </c:pt>
                <c:pt idx="134">
                  <c:v>15</c:v>
                </c:pt>
                <c:pt idx="135">
                  <c:v>33</c:v>
                </c:pt>
                <c:pt idx="136">
                  <c:v>28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5</c:v>
                </c:pt>
                <c:pt idx="143">
                  <c:v>14</c:v>
                </c:pt>
                <c:pt idx="144">
                  <c:v>21</c:v>
                </c:pt>
                <c:pt idx="145">
                  <c:v>12</c:v>
                </c:pt>
                <c:pt idx="146">
                  <c:v>9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1</c:v>
                </c:pt>
                <c:pt idx="153">
                  <c:v>16</c:v>
                </c:pt>
                <c:pt idx="154">
                  <c:v>6</c:v>
                </c:pt>
                <c:pt idx="155">
                  <c:v>6</c:v>
                </c:pt>
                <c:pt idx="156">
                  <c:v>16</c:v>
                </c:pt>
                <c:pt idx="157">
                  <c:v>16</c:v>
                </c:pt>
                <c:pt idx="158">
                  <c:v>16</c:v>
                </c:pt>
                <c:pt idx="159">
                  <c:v>14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6</c:v>
                </c:pt>
                <c:pt idx="172">
                  <c:v>10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10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2</c:v>
                </c:pt>
                <c:pt idx="187">
                  <c:v>8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2</c:v>
                </c:pt>
                <c:pt idx="192">
                  <c:v>9</c:v>
                </c:pt>
                <c:pt idx="193">
                  <c:v>3</c:v>
                </c:pt>
                <c:pt idx="194">
                  <c:v>8</c:v>
                </c:pt>
                <c:pt idx="195">
                  <c:v>12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4</c:v>
                </c:pt>
                <c:pt idx="201">
                  <c:v>3</c:v>
                </c:pt>
                <c:pt idx="202">
                  <c:v>2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2</c:v>
                </c:pt>
                <c:pt idx="220">
                  <c:v>5</c:v>
                </c:pt>
                <c:pt idx="221">
                  <c:v>2</c:v>
                </c:pt>
                <c:pt idx="222">
                  <c:v>2</c:v>
                </c:pt>
                <c:pt idx="223">
                  <c:v>1</c:v>
                </c:pt>
                <c:pt idx="224">
                  <c:v>0</c:v>
                </c:pt>
                <c:pt idx="225">
                  <c:v>0</c:v>
                </c:pt>
                <c:pt idx="226">
                  <c:v>3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2</c:v>
                </c:pt>
                <c:pt idx="240">
                  <c:v>0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0</c:v>
                </c:pt>
                <c:pt idx="245">
                  <c:v>2</c:v>
                </c:pt>
                <c:pt idx="246">
                  <c:v>3</c:v>
                </c:pt>
                <c:pt idx="247">
                  <c:v>1</c:v>
                </c:pt>
                <c:pt idx="248">
                  <c:v>3</c:v>
                </c:pt>
                <c:pt idx="249">
                  <c:v>4</c:v>
                </c:pt>
                <c:pt idx="250">
                  <c:v>1</c:v>
                </c:pt>
                <c:pt idx="251">
                  <c:v>1</c:v>
                </c:pt>
                <c:pt idx="252">
                  <c:v>0</c:v>
                </c:pt>
                <c:pt idx="253">
                  <c:v>2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1</c:v>
                </c:pt>
                <c:pt idx="261">
                  <c:v>2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1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1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2</c:v>
                </c:pt>
                <c:pt idx="295">
                  <c:v>2</c:v>
                </c:pt>
                <c:pt idx="296">
                  <c:v>1</c:v>
                </c:pt>
                <c:pt idx="297">
                  <c:v>0</c:v>
                </c:pt>
                <c:pt idx="298">
                  <c:v>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2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3</c:v>
                </c:pt>
                <c:pt idx="322">
                  <c:v>1</c:v>
                </c:pt>
                <c:pt idx="323">
                  <c:v>3</c:v>
                </c:pt>
                <c:pt idx="324">
                  <c:v>0</c:v>
                </c:pt>
                <c:pt idx="325">
                  <c:v>1</c:v>
                </c:pt>
                <c:pt idx="326">
                  <c:v>1</c:v>
                </c:pt>
                <c:pt idx="327">
                  <c:v>3</c:v>
                </c:pt>
                <c:pt idx="328">
                  <c:v>1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4</c:v>
                </c:pt>
                <c:pt idx="333">
                  <c:v>0</c:v>
                </c:pt>
                <c:pt idx="334">
                  <c:v>1</c:v>
                </c:pt>
                <c:pt idx="335">
                  <c:v>0</c:v>
                </c:pt>
                <c:pt idx="336">
                  <c:v>2</c:v>
                </c:pt>
                <c:pt idx="337">
                  <c:v>0</c:v>
                </c:pt>
                <c:pt idx="338">
                  <c:v>0</c:v>
                </c:pt>
                <c:pt idx="339">
                  <c:v>4</c:v>
                </c:pt>
                <c:pt idx="340">
                  <c:v>2</c:v>
                </c:pt>
                <c:pt idx="341">
                  <c:v>2</c:v>
                </c:pt>
                <c:pt idx="342">
                  <c:v>0</c:v>
                </c:pt>
                <c:pt idx="343">
                  <c:v>5</c:v>
                </c:pt>
                <c:pt idx="344">
                  <c:v>3</c:v>
                </c:pt>
                <c:pt idx="345">
                  <c:v>2</c:v>
                </c:pt>
                <c:pt idx="346">
                  <c:v>9</c:v>
                </c:pt>
                <c:pt idx="347">
                  <c:v>7</c:v>
                </c:pt>
                <c:pt idx="348">
                  <c:v>5</c:v>
                </c:pt>
                <c:pt idx="349">
                  <c:v>3</c:v>
                </c:pt>
                <c:pt idx="350">
                  <c:v>6</c:v>
                </c:pt>
                <c:pt idx="351">
                  <c:v>1</c:v>
                </c:pt>
                <c:pt idx="352">
                  <c:v>1</c:v>
                </c:pt>
                <c:pt idx="353">
                  <c:v>6</c:v>
                </c:pt>
                <c:pt idx="354">
                  <c:v>8</c:v>
                </c:pt>
                <c:pt idx="355">
                  <c:v>5</c:v>
                </c:pt>
                <c:pt idx="356">
                  <c:v>8</c:v>
                </c:pt>
                <c:pt idx="357">
                  <c:v>2</c:v>
                </c:pt>
                <c:pt idx="358">
                  <c:v>5</c:v>
                </c:pt>
                <c:pt idx="359">
                  <c:v>2</c:v>
                </c:pt>
                <c:pt idx="360">
                  <c:v>7</c:v>
                </c:pt>
                <c:pt idx="361">
                  <c:v>7</c:v>
                </c:pt>
                <c:pt idx="362">
                  <c:v>6</c:v>
                </c:pt>
                <c:pt idx="363">
                  <c:v>14</c:v>
                </c:pt>
                <c:pt idx="364">
                  <c:v>7</c:v>
                </c:pt>
                <c:pt idx="365">
                  <c:v>3</c:v>
                </c:pt>
                <c:pt idx="366">
                  <c:v>3</c:v>
                </c:pt>
                <c:pt idx="367">
                  <c:v>14</c:v>
                </c:pt>
                <c:pt idx="368">
                  <c:v>6</c:v>
                </c:pt>
                <c:pt idx="369">
                  <c:v>17</c:v>
                </c:pt>
                <c:pt idx="370">
                  <c:v>3</c:v>
                </c:pt>
                <c:pt idx="371">
                  <c:v>8</c:v>
                </c:pt>
                <c:pt idx="372">
                  <c:v>1</c:v>
                </c:pt>
                <c:pt idx="373">
                  <c:v>3</c:v>
                </c:pt>
                <c:pt idx="374">
                  <c:v>10</c:v>
                </c:pt>
                <c:pt idx="375">
                  <c:v>4</c:v>
                </c:pt>
                <c:pt idx="376">
                  <c:v>8</c:v>
                </c:pt>
                <c:pt idx="377">
                  <c:v>6</c:v>
                </c:pt>
                <c:pt idx="378">
                  <c:v>5</c:v>
                </c:pt>
                <c:pt idx="379">
                  <c:v>6</c:v>
                </c:pt>
                <c:pt idx="380">
                  <c:v>3</c:v>
                </c:pt>
                <c:pt idx="381">
                  <c:v>10</c:v>
                </c:pt>
                <c:pt idx="382">
                  <c:v>2</c:v>
                </c:pt>
                <c:pt idx="383">
                  <c:v>6</c:v>
                </c:pt>
                <c:pt idx="384">
                  <c:v>5</c:v>
                </c:pt>
                <c:pt idx="385">
                  <c:v>7</c:v>
                </c:pt>
                <c:pt idx="386">
                  <c:v>2</c:v>
                </c:pt>
                <c:pt idx="387">
                  <c:v>0</c:v>
                </c:pt>
                <c:pt idx="388">
                  <c:v>6</c:v>
                </c:pt>
                <c:pt idx="389">
                  <c:v>2</c:v>
                </c:pt>
                <c:pt idx="390">
                  <c:v>2</c:v>
                </c:pt>
                <c:pt idx="391">
                  <c:v>5</c:v>
                </c:pt>
                <c:pt idx="392">
                  <c:v>4</c:v>
                </c:pt>
                <c:pt idx="393">
                  <c:v>0</c:v>
                </c:pt>
                <c:pt idx="394">
                  <c:v>1</c:v>
                </c:pt>
                <c:pt idx="395">
                  <c:v>7</c:v>
                </c:pt>
                <c:pt idx="396">
                  <c:v>3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1</c:v>
                </c:pt>
                <c:pt idx="401">
                  <c:v>0</c:v>
                </c:pt>
                <c:pt idx="402">
                  <c:v>3</c:v>
                </c:pt>
                <c:pt idx="403">
                  <c:v>4</c:v>
                </c:pt>
                <c:pt idx="404">
                  <c:v>3</c:v>
                </c:pt>
                <c:pt idx="405">
                  <c:v>0</c:v>
                </c:pt>
                <c:pt idx="406">
                  <c:v>3</c:v>
                </c:pt>
                <c:pt idx="407">
                  <c:v>1</c:v>
                </c:pt>
                <c:pt idx="408">
                  <c:v>0</c:v>
                </c:pt>
                <c:pt idx="409">
                  <c:v>3</c:v>
                </c:pt>
                <c:pt idx="410">
                  <c:v>1</c:v>
                </c:pt>
                <c:pt idx="411">
                  <c:v>3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2</c:v>
                </c:pt>
                <c:pt idx="417">
                  <c:v>0</c:v>
                </c:pt>
                <c:pt idx="418">
                  <c:v>2</c:v>
                </c:pt>
                <c:pt idx="419">
                  <c:v>0</c:v>
                </c:pt>
                <c:pt idx="420">
                  <c:v>5</c:v>
                </c:pt>
                <c:pt idx="421">
                  <c:v>0</c:v>
                </c:pt>
                <c:pt idx="422">
                  <c:v>2</c:v>
                </c:pt>
                <c:pt idx="423">
                  <c:v>3</c:v>
                </c:pt>
                <c:pt idx="424">
                  <c:v>6</c:v>
                </c:pt>
                <c:pt idx="425">
                  <c:v>1</c:v>
                </c:pt>
                <c:pt idx="426">
                  <c:v>2</c:v>
                </c:pt>
                <c:pt idx="427">
                  <c:v>2</c:v>
                </c:pt>
                <c:pt idx="428">
                  <c:v>0</c:v>
                </c:pt>
                <c:pt idx="429">
                  <c:v>1</c:v>
                </c:pt>
                <c:pt idx="430">
                  <c:v>10</c:v>
                </c:pt>
                <c:pt idx="431">
                  <c:v>6</c:v>
                </c:pt>
                <c:pt idx="432">
                  <c:v>8</c:v>
                </c:pt>
                <c:pt idx="433">
                  <c:v>4</c:v>
                </c:pt>
                <c:pt idx="434">
                  <c:v>6</c:v>
                </c:pt>
                <c:pt idx="435">
                  <c:v>2</c:v>
                </c:pt>
                <c:pt idx="436">
                  <c:v>2</c:v>
                </c:pt>
                <c:pt idx="437">
                  <c:v>2</c:v>
                </c:pt>
                <c:pt idx="438">
                  <c:v>10</c:v>
                </c:pt>
                <c:pt idx="439">
                  <c:v>7</c:v>
                </c:pt>
                <c:pt idx="440">
                  <c:v>6</c:v>
                </c:pt>
                <c:pt idx="441">
                  <c:v>12</c:v>
                </c:pt>
                <c:pt idx="442">
                  <c:v>3</c:v>
                </c:pt>
                <c:pt idx="443">
                  <c:v>3</c:v>
                </c:pt>
                <c:pt idx="444">
                  <c:v>7</c:v>
                </c:pt>
                <c:pt idx="445">
                  <c:v>12</c:v>
                </c:pt>
                <c:pt idx="446">
                  <c:v>5</c:v>
                </c:pt>
                <c:pt idx="447">
                  <c:v>7</c:v>
                </c:pt>
                <c:pt idx="448">
                  <c:v>6</c:v>
                </c:pt>
                <c:pt idx="449">
                  <c:v>2</c:v>
                </c:pt>
                <c:pt idx="450">
                  <c:v>2</c:v>
                </c:pt>
                <c:pt idx="451">
                  <c:v>11</c:v>
                </c:pt>
                <c:pt idx="452">
                  <c:v>6</c:v>
                </c:pt>
                <c:pt idx="453">
                  <c:v>8</c:v>
                </c:pt>
                <c:pt idx="454">
                  <c:v>3</c:v>
                </c:pt>
                <c:pt idx="455">
                  <c:v>6</c:v>
                </c:pt>
                <c:pt idx="456">
                  <c:v>1</c:v>
                </c:pt>
                <c:pt idx="457">
                  <c:v>5</c:v>
                </c:pt>
                <c:pt idx="458">
                  <c:v>5</c:v>
                </c:pt>
                <c:pt idx="459">
                  <c:v>15</c:v>
                </c:pt>
                <c:pt idx="460">
                  <c:v>8</c:v>
                </c:pt>
                <c:pt idx="461">
                  <c:v>7</c:v>
                </c:pt>
                <c:pt idx="462">
                  <c:v>5</c:v>
                </c:pt>
                <c:pt idx="463">
                  <c:v>1</c:v>
                </c:pt>
                <c:pt idx="464">
                  <c:v>1</c:v>
                </c:pt>
                <c:pt idx="465">
                  <c:v>4</c:v>
                </c:pt>
                <c:pt idx="466">
                  <c:v>5</c:v>
                </c:pt>
                <c:pt idx="467">
                  <c:v>5</c:v>
                </c:pt>
                <c:pt idx="468">
                  <c:v>3</c:v>
                </c:pt>
                <c:pt idx="469">
                  <c:v>0</c:v>
                </c:pt>
                <c:pt idx="470">
                  <c:v>3</c:v>
                </c:pt>
                <c:pt idx="471">
                  <c:v>2</c:v>
                </c:pt>
                <c:pt idx="472">
                  <c:v>3</c:v>
                </c:pt>
                <c:pt idx="473">
                  <c:v>6</c:v>
                </c:pt>
                <c:pt idx="474">
                  <c:v>2</c:v>
                </c:pt>
                <c:pt idx="475">
                  <c:v>3</c:v>
                </c:pt>
                <c:pt idx="476">
                  <c:v>5</c:v>
                </c:pt>
                <c:pt idx="477">
                  <c:v>3</c:v>
                </c:pt>
                <c:pt idx="478">
                  <c:v>1</c:v>
                </c:pt>
                <c:pt idx="479">
                  <c:v>6</c:v>
                </c:pt>
                <c:pt idx="480">
                  <c:v>2</c:v>
                </c:pt>
                <c:pt idx="481">
                  <c:v>1</c:v>
                </c:pt>
                <c:pt idx="482">
                  <c:v>0</c:v>
                </c:pt>
                <c:pt idx="483">
                  <c:v>2</c:v>
                </c:pt>
                <c:pt idx="484">
                  <c:v>0</c:v>
                </c:pt>
                <c:pt idx="485">
                  <c:v>2</c:v>
                </c:pt>
                <c:pt idx="486">
                  <c:v>3</c:v>
                </c:pt>
                <c:pt idx="487">
                  <c:v>3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2</c:f>
              <c:numCache>
                <c:formatCode>m/d/yyyy</c:formatCode>
                <c:ptCount val="491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  <c:pt idx="484">
                  <c:v>44639</c:v>
                </c:pt>
                <c:pt idx="485">
                  <c:v>44640</c:v>
                </c:pt>
                <c:pt idx="486">
                  <c:v>44641</c:v>
                </c:pt>
                <c:pt idx="487">
                  <c:v>44642</c:v>
                </c:pt>
                <c:pt idx="488">
                  <c:v>44643</c:v>
                </c:pt>
                <c:pt idx="489">
                  <c:v>44644</c:v>
                </c:pt>
                <c:pt idx="490">
                  <c:v>44645</c:v>
                </c:pt>
              </c:numCache>
            </c:numRef>
          </c:cat>
          <c:val>
            <c:numRef>
              <c:f>Sheet1!$B$2:$B$492</c:f>
              <c:numCache>
                <c:formatCode>General</c:formatCode>
                <c:ptCount val="49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5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8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1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3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21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3</c:v>
                </c:pt>
                <c:pt idx="90">
                  <c:v>9</c:v>
                </c:pt>
                <c:pt idx="91">
                  <c:v>2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9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6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6">
                  <c:v>2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3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1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2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2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3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2</c:v>
                </c:pt>
                <c:pt idx="347">
                  <c:v>2</c:v>
                </c:pt>
                <c:pt idx="348">
                  <c:v>1</c:v>
                </c:pt>
                <c:pt idx="349">
                  <c:v>0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3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2</c:v>
                </c:pt>
                <c:pt idx="359">
                  <c:v>2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7</c:v>
                </c:pt>
                <c:pt idx="364">
                  <c:v>3</c:v>
                </c:pt>
                <c:pt idx="365">
                  <c:v>1</c:v>
                </c:pt>
                <c:pt idx="366">
                  <c:v>2</c:v>
                </c:pt>
                <c:pt idx="367">
                  <c:v>2</c:v>
                </c:pt>
                <c:pt idx="368">
                  <c:v>0</c:v>
                </c:pt>
                <c:pt idx="369">
                  <c:v>5</c:v>
                </c:pt>
                <c:pt idx="370">
                  <c:v>0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1</c:v>
                </c:pt>
                <c:pt idx="381">
                  <c:v>1</c:v>
                </c:pt>
                <c:pt idx="382">
                  <c:v>0</c:v>
                </c:pt>
                <c:pt idx="383">
                  <c:v>1</c:v>
                </c:pt>
                <c:pt idx="384">
                  <c:v>2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1</c:v>
                </c:pt>
                <c:pt idx="392">
                  <c:v>1</c:v>
                </c:pt>
                <c:pt idx="393">
                  <c:v>0</c:v>
                </c:pt>
                <c:pt idx="394">
                  <c:v>0</c:v>
                </c:pt>
                <c:pt idx="395">
                  <c:v>2</c:v>
                </c:pt>
                <c:pt idx="396">
                  <c:v>0</c:v>
                </c:pt>
                <c:pt idx="397">
                  <c:v>1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1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3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3</c:v>
                </c:pt>
                <c:pt idx="433">
                  <c:v>0</c:v>
                </c:pt>
                <c:pt idx="434">
                  <c:v>1</c:v>
                </c:pt>
                <c:pt idx="435">
                  <c:v>0</c:v>
                </c:pt>
                <c:pt idx="436">
                  <c:v>0</c:v>
                </c:pt>
                <c:pt idx="437">
                  <c:v>1</c:v>
                </c:pt>
                <c:pt idx="438">
                  <c:v>4</c:v>
                </c:pt>
                <c:pt idx="439">
                  <c:v>1</c:v>
                </c:pt>
                <c:pt idx="440">
                  <c:v>2</c:v>
                </c:pt>
                <c:pt idx="441">
                  <c:v>2</c:v>
                </c:pt>
                <c:pt idx="442">
                  <c:v>1</c:v>
                </c:pt>
                <c:pt idx="443">
                  <c:v>1</c:v>
                </c:pt>
                <c:pt idx="444">
                  <c:v>1</c:v>
                </c:pt>
                <c:pt idx="445">
                  <c:v>1</c:v>
                </c:pt>
                <c:pt idx="446">
                  <c:v>0</c:v>
                </c:pt>
                <c:pt idx="447">
                  <c:v>0</c:v>
                </c:pt>
                <c:pt idx="448">
                  <c:v>1</c:v>
                </c:pt>
                <c:pt idx="449">
                  <c:v>1</c:v>
                </c:pt>
                <c:pt idx="450">
                  <c:v>0</c:v>
                </c:pt>
                <c:pt idx="451">
                  <c:v>2</c:v>
                </c:pt>
                <c:pt idx="452">
                  <c:v>2</c:v>
                </c:pt>
                <c:pt idx="453">
                  <c:v>0</c:v>
                </c:pt>
                <c:pt idx="454">
                  <c:v>1</c:v>
                </c:pt>
                <c:pt idx="455">
                  <c:v>1</c:v>
                </c:pt>
                <c:pt idx="456">
                  <c:v>0</c:v>
                </c:pt>
                <c:pt idx="457">
                  <c:v>1</c:v>
                </c:pt>
                <c:pt idx="458">
                  <c:v>1</c:v>
                </c:pt>
                <c:pt idx="459">
                  <c:v>2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1</c:v>
                </c:pt>
                <c:pt idx="466">
                  <c:v>0</c:v>
                </c:pt>
                <c:pt idx="467">
                  <c:v>1</c:v>
                </c:pt>
                <c:pt idx="468">
                  <c:v>1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1</c:v>
                </c:pt>
                <c:pt idx="477">
                  <c:v>1</c:v>
                </c:pt>
                <c:pt idx="478">
                  <c:v>0</c:v>
                </c:pt>
                <c:pt idx="479">
                  <c:v>1</c:v>
                </c:pt>
                <c:pt idx="480">
                  <c:v>1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1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53</c:v>
                </c:pt>
                <c:pt idx="4">
                  <c:v>308</c:v>
                </c:pt>
                <c:pt idx="5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6</c:v>
                </c:pt>
                <c:pt idx="1">
                  <c:v>823</c:v>
                </c:pt>
                <c:pt idx="2">
                  <c:v>337</c:v>
                </c:pt>
                <c:pt idx="3">
                  <c:v>294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2.–
6.3.</c:v>
                </c:pt>
                <c:pt idx="1">
                  <c:v>7.3.–
13.3.</c:v>
                </c:pt>
                <c:pt idx="2">
                  <c:v>14.3.–
20.3.</c:v>
                </c:pt>
                <c:pt idx="3">
                  <c:v>21.3.–
27.3.</c:v>
                </c:pt>
                <c:pt idx="4">
                  <c:v>28.3.–
3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10</c:v>
                </c:pt>
                <c:pt idx="1">
                  <c:v>203</c:v>
                </c:pt>
                <c:pt idx="2">
                  <c:v>126</c:v>
                </c:pt>
                <c:pt idx="3">
                  <c:v>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1162535586491504</c:v>
                </c:pt>
                <c:pt idx="1">
                  <c:v>0.28837464413508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1.xml"/><Relationship Id="rId5" Type="http://schemas.openxmlformats.org/officeDocument/2006/relationships/tags" Target="../tags/tag15.xml"/><Relationship Id="rId10" Type="http://schemas.openxmlformats.org/officeDocument/2006/relationships/chart" Target="../charts/chart10.xml"/><Relationship Id="rId4" Type="http://schemas.openxmlformats.org/officeDocument/2006/relationships/tags" Target="../tags/tag14.xml"/><Relationship Id="rId9" Type="http://schemas.openxmlformats.org/officeDocument/2006/relationships/chart" Target="../charts/chart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3.xml"/><Relationship Id="rId5" Type="http://schemas.openxmlformats.org/officeDocument/2006/relationships/tags" Target="../tags/tag22.xml"/><Relationship Id="rId10" Type="http://schemas.openxmlformats.org/officeDocument/2006/relationships/chart" Target="../charts/chart12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61258A-DFE4-49C7-B100-2FD26D54F9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412856"/>
              </p:ext>
            </p:extLst>
          </p:nvPr>
        </p:nvGraphicFramePr>
        <p:xfrm>
          <a:off x="736281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382018728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7301463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287366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9415297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21211899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6982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829730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2 k 26. 3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3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541611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1473350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543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252151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922641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5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089298"/>
              </p:ext>
            </p:extLst>
          </p:nvPr>
        </p:nvGraphicFramePr>
        <p:xfrm>
          <a:off x="1372685" y="1009674"/>
          <a:ext cx="9684753" cy="53911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2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10053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007991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507756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2. – 28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67691"/>
              </p:ext>
            </p:extLst>
          </p:nvPr>
        </p:nvGraphicFramePr>
        <p:xfrm>
          <a:off x="1372685" y="1009674"/>
          <a:ext cx="9684753" cy="54101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31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517868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31359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19779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40377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58437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6395732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581993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30776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849209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138601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761191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3199489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7223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26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786131"/>
              </p:ext>
            </p:extLst>
          </p:nvPr>
        </p:nvGraphicFramePr>
        <p:xfrm>
          <a:off x="1372685" y="942998"/>
          <a:ext cx="9684753" cy="556982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673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Lampert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itkov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Lid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2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 DpS Koutk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TOPAS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ouse Vac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3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eniorů Mělní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JASENKA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Třebešín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TEKVIZOVICE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ěžní Kadaň_březen 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, p.o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lat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ílokostelecká, Chrasta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48891181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0848453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4970470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Vodňan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00862596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elhřimov, Radětínská 2305, Pelhřim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7688681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Jindřichovice pod Smrkem  Vila Rozál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65142125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5604569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97496042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8810558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Vinnou horou Hlu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20745157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Liboc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9214851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KAROLINKA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5488982"/>
                  </a:ext>
                </a:extLst>
              </a:tr>
              <a:tr h="1631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něžen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82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nakažených klientů a více než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1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ů nákazy personálu a 43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ientů, z nichž 29 zemřelo, v únoru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10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, z nichž 68 zemřelo, v březnu (k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3.) bylo 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6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ů nákazy personálu 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79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ientů, z nichž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emřelo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812794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6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6079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5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29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8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37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6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2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37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3. 2022</a:t>
            </a:r>
          </a:p>
        </p:txBody>
      </p:sp>
    </p:spTree>
    <p:extLst>
      <p:ext uri="{BB962C8B-B14F-4D97-AF65-F5344CB8AC3E}">
        <p14:creationId xmlns:p14="http://schemas.microsoft.com/office/powerpoint/2010/main" val="37599335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3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52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</p:spTree>
    <p:extLst>
      <p:ext uri="{BB962C8B-B14F-4D97-AF65-F5344CB8AC3E}">
        <p14:creationId xmlns:p14="http://schemas.microsoft.com/office/powerpoint/2010/main" val="2010736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</p:spTree>
    <p:extLst>
      <p:ext uri="{BB962C8B-B14F-4D97-AF65-F5344CB8AC3E}">
        <p14:creationId xmlns:p14="http://schemas.microsoft.com/office/powerpoint/2010/main" val="816306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</p:spTree>
    <p:extLst>
      <p:ext uri="{BB962C8B-B14F-4D97-AF65-F5344CB8AC3E}">
        <p14:creationId xmlns:p14="http://schemas.microsoft.com/office/powerpoint/2010/main" val="2173327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2762688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9330500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690265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315339"/>
              </p:ext>
            </p:extLst>
          </p:nvPr>
        </p:nvGraphicFramePr>
        <p:xfrm>
          <a:off x="19789" y="951384"/>
          <a:ext cx="12105537" cy="5641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7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26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12393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925084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486982"/>
            <a:ext cx="1132702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723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877 nakaženými, za březen 33 události s 571 nakaženými (stav k 26. 3.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789" y="988368"/>
          <a:ext cx="12093905" cy="560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26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6228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4064142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8351596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E0CAF81-1148-424B-9E87-9FF2684EB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897000"/>
              </p:ext>
            </p:extLst>
          </p:nvPr>
        </p:nvGraphicFramePr>
        <p:xfrm>
          <a:off x="1003384" y="5723959"/>
          <a:ext cx="10940900" cy="738900"/>
        </p:xfrm>
        <a:graphic>
          <a:graphicData uri="http://schemas.openxmlformats.org/drawingml/2006/table">
            <a:tbl>
              <a:tblPr/>
              <a:tblGrid>
                <a:gridCol w="109409">
                  <a:extLst>
                    <a:ext uri="{9D8B030D-6E8A-4147-A177-3AD203B41FA5}">
                      <a16:colId xmlns:a16="http://schemas.microsoft.com/office/drawing/2014/main" val="295210861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3695336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9576906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4558470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2964682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4619631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8026947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7521442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4008596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7386410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7688156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2219246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5639003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9036710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952433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3023750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2168105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8331730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6796013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2446096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237701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1649969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8489639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0120011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0429649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7336722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866298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958524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13183756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6510650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6714890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72671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9505400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2958702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30662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12920836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004389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140328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2716595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3224717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2225407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4490955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6447663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415247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025386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5660352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8750932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3721619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3016760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8257749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970805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8492480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2948647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0096765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7877339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1098849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2329019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17800231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380397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8411934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8210882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5991925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3774896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3676540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4998620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5092413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49356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134528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499354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234373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341818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165965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1988793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4463101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28558296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452161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6876386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526308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4895413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7715209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08887998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2539646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3953331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687243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071436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6595942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179772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2696196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0076178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514738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4007669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6652195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155307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222774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6359389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6465501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6239131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3044961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5296000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69685913"/>
                    </a:ext>
                  </a:extLst>
                </a:gridCol>
              </a:tblGrid>
              <a:tr h="3694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3360012"/>
                  </a:ext>
                </a:extLst>
              </a:tr>
              <a:tr h="3694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80384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072947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3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76C3E24-E9E7-4202-8B48-A71690432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802545"/>
              </p:ext>
            </p:extLst>
          </p:nvPr>
        </p:nvGraphicFramePr>
        <p:xfrm>
          <a:off x="7428768" y="5737704"/>
          <a:ext cx="4564879" cy="731520"/>
        </p:xfrm>
        <a:graphic>
          <a:graphicData uri="http://schemas.openxmlformats.org/drawingml/2006/table">
            <a:tbl>
              <a:tblPr/>
              <a:tblGrid>
                <a:gridCol w="198473">
                  <a:extLst>
                    <a:ext uri="{9D8B030D-6E8A-4147-A177-3AD203B41FA5}">
                      <a16:colId xmlns:a16="http://schemas.microsoft.com/office/drawing/2014/main" val="40542378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875605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669225899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59121445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90237646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4062836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340405007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626111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76770942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9627242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7326319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35287777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42178275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246794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7612943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041012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47895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63544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47946106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10597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48249887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9480633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94266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459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53041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051766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3/2022 k 26. 3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6. 3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357604"/>
              </p:ext>
            </p:extLst>
          </p:nvPr>
        </p:nvGraphicFramePr>
        <p:xfrm>
          <a:off x="123825" y="914354"/>
          <a:ext cx="6483890" cy="5641271"/>
        </p:xfrm>
        <a:graphic>
          <a:graphicData uri="http://schemas.openxmlformats.org/drawingml/2006/table">
            <a:tbl>
              <a:tblPr/>
              <a:tblGrid>
                <a:gridCol w="52254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59263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6. 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044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E8C36D6-DA3C-4986-BAE3-2CCA3C1995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077963"/>
              </p:ext>
            </p:extLst>
          </p:nvPr>
        </p:nvGraphicFramePr>
        <p:xfrm>
          <a:off x="7428768" y="1226200"/>
          <a:ext cx="4564856" cy="463535"/>
        </p:xfrm>
        <a:graphic>
          <a:graphicData uri="http://schemas.openxmlformats.org/drawingml/2006/table">
            <a:tbl>
              <a:tblPr/>
              <a:tblGrid>
                <a:gridCol w="198472">
                  <a:extLst>
                    <a:ext uri="{9D8B030D-6E8A-4147-A177-3AD203B41FA5}">
                      <a16:colId xmlns:a16="http://schemas.microsoft.com/office/drawing/2014/main" val="200756547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993155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75066560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55084764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6691979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66769091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8830547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666415007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598033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71387238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78028649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64499432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264606494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343436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32182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01079921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900112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1598118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03344356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4189009272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06961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178306335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47419719"/>
                    </a:ext>
                  </a:extLst>
                </a:gridCol>
              </a:tblGrid>
              <a:tr h="97775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02338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945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AB18C71-1867-49C2-8565-4F6CE7E0E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537115"/>
              </p:ext>
            </p:extLst>
          </p:nvPr>
        </p:nvGraphicFramePr>
        <p:xfrm>
          <a:off x="8713426" y="911227"/>
          <a:ext cx="849674" cy="5586734"/>
        </p:xfrm>
        <a:graphic>
          <a:graphicData uri="http://schemas.openxmlformats.org/drawingml/2006/table">
            <a:tbl>
              <a:tblPr/>
              <a:tblGrid>
                <a:gridCol w="849674">
                  <a:extLst>
                    <a:ext uri="{9D8B030D-6E8A-4147-A177-3AD203B41FA5}">
                      <a16:colId xmlns:a16="http://schemas.microsoft.com/office/drawing/2014/main" val="4140285373"/>
                    </a:ext>
                  </a:extLst>
                </a:gridCol>
              </a:tblGrid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848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85168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37673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91003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44754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5561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75636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26867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084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22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6216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7183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01786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281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41781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7849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26546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1350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3094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0275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27755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68773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9082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162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45018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2617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1650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850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4449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5893848"/>
              </p:ext>
            </p:extLst>
          </p:nvPr>
        </p:nvGraphicFramePr>
        <p:xfrm>
          <a:off x="1093233" y="695325"/>
          <a:ext cx="8958646" cy="580263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184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9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6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33708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84CBF44-09C1-4104-896C-F04BC12F4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33361"/>
              </p:ext>
            </p:extLst>
          </p:nvPr>
        </p:nvGraphicFramePr>
        <p:xfrm>
          <a:off x="8704851" y="1092199"/>
          <a:ext cx="905873" cy="5424328"/>
        </p:xfrm>
        <a:graphic>
          <a:graphicData uri="http://schemas.openxmlformats.org/drawingml/2006/table">
            <a:tbl>
              <a:tblPr/>
              <a:tblGrid>
                <a:gridCol w="905873">
                  <a:extLst>
                    <a:ext uri="{9D8B030D-6E8A-4147-A177-3AD203B41FA5}">
                      <a16:colId xmlns:a16="http://schemas.microsoft.com/office/drawing/2014/main" val="1283906979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2302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052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266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713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397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08745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6028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94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45571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1943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14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7550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0300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5778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610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49604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13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988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4057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691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3655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25686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1919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5992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6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4816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1524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98241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3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374820"/>
              </p:ext>
            </p:extLst>
          </p:nvPr>
        </p:nvGraphicFramePr>
        <p:xfrm>
          <a:off x="1104900" y="660914"/>
          <a:ext cx="8958646" cy="5856009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393 (1 76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33 (7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60 (6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0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974 (69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5 (3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82 (84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66 (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8 (1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31424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09130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552949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4788181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55700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185485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611436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913</TotalTime>
  <Words>17552</Words>
  <Application>Microsoft Office PowerPoint</Application>
  <PresentationFormat>Širokoúhlá obrazovka</PresentationFormat>
  <Paragraphs>7469</Paragraphs>
  <Slides>6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5</vt:i4>
      </vt:variant>
    </vt:vector>
  </HeadingPairs>
  <TitlesOfParts>
    <vt:vector size="69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648</cp:revision>
  <dcterms:created xsi:type="dcterms:W3CDTF">2020-11-14T10:09:00Z</dcterms:created>
  <dcterms:modified xsi:type="dcterms:W3CDTF">2022-03-27T11:01:48Z</dcterms:modified>
</cp:coreProperties>
</file>